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4"/>
    <p:sldMasterId id="2147483790" r:id="rId5"/>
    <p:sldMasterId id="2147483795" r:id="rId6"/>
  </p:sldMasterIdLst>
  <p:notesMasterIdLst>
    <p:notesMasterId r:id="rId22"/>
  </p:notesMasterIdLst>
  <p:handoutMasterIdLst>
    <p:handoutMasterId r:id="rId23"/>
  </p:handoutMasterIdLst>
  <p:sldIdLst>
    <p:sldId id="1666" r:id="rId7"/>
    <p:sldId id="1621" r:id="rId8"/>
    <p:sldId id="1649" r:id="rId9"/>
    <p:sldId id="1638" r:id="rId10"/>
    <p:sldId id="1661" r:id="rId11"/>
    <p:sldId id="1653" r:id="rId12"/>
    <p:sldId id="1656" r:id="rId13"/>
    <p:sldId id="1657" r:id="rId14"/>
    <p:sldId id="1662" r:id="rId15"/>
    <p:sldId id="1667" r:id="rId16"/>
    <p:sldId id="1668" r:id="rId17"/>
    <p:sldId id="1669" r:id="rId18"/>
    <p:sldId id="1670" r:id="rId19"/>
    <p:sldId id="1671" r:id="rId20"/>
    <p:sldId id="1673" r:id="rId21"/>
  </p:sldIdLst>
  <p:sldSz cx="9906000" cy="6858000" type="A4"/>
  <p:notesSz cx="6797675" cy="9928225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81E77A6-13B9-4751-BF93-0ABBEBF2AD97}">
          <p14:sldIdLst>
            <p14:sldId id="1666"/>
            <p14:sldId id="1621"/>
            <p14:sldId id="1649"/>
            <p14:sldId id="1638"/>
            <p14:sldId id="1661"/>
            <p14:sldId id="1653"/>
            <p14:sldId id="1656"/>
            <p14:sldId id="1657"/>
            <p14:sldId id="1662"/>
            <p14:sldId id="1667"/>
            <p14:sldId id="1668"/>
            <p14:sldId id="1669"/>
            <p14:sldId id="1670"/>
            <p14:sldId id="1671"/>
            <p14:sldId id="1673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4247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5" pos="13" userDrawn="1">
          <p15:clr>
            <a:srgbClr val="A4A3A4"/>
          </p15:clr>
        </p15:guide>
        <p15:guide id="6" pos="6182" userDrawn="1">
          <p15:clr>
            <a:srgbClr val="A4A3A4"/>
          </p15:clr>
        </p15:guide>
        <p15:guide id="7" pos="312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ome" initials="" lastIdx="0" clrIdx="0"/>
  <p:cmAuthor id="1" name="Pashchenko, Anton" initials="PA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8E4"/>
    <a:srgbClr val="5EA038"/>
    <a:srgbClr val="5BA138"/>
    <a:srgbClr val="245327"/>
    <a:srgbClr val="8BAF2D"/>
    <a:srgbClr val="2E4D0F"/>
    <a:srgbClr val="325C1A"/>
    <a:srgbClr val="2B6030"/>
    <a:srgbClr val="FFFFFF"/>
    <a:srgbClr val="FFCB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41" autoAdjust="0"/>
    <p:restoredTop sz="97914" autoAdjust="0"/>
  </p:normalViewPr>
  <p:slideViewPr>
    <p:cSldViewPr>
      <p:cViewPr>
        <p:scale>
          <a:sx n="90" d="100"/>
          <a:sy n="90" d="100"/>
        </p:scale>
        <p:origin x="-1434" y="-150"/>
      </p:cViewPr>
      <p:guideLst>
        <p:guide orient="horz" pos="4247"/>
        <p:guide orient="horz" pos="2160"/>
        <p:guide orient="horz"/>
        <p:guide pos="13"/>
        <p:guide pos="6182"/>
        <p:guide pos="3120"/>
      </p:guideLst>
    </p:cSldViewPr>
  </p:slideViewPr>
  <p:outlineViewPr>
    <p:cViewPr>
      <p:scale>
        <a:sx n="33" d="100"/>
        <a:sy n="33" d="100"/>
      </p:scale>
      <p:origin x="0" y="165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2904" y="7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280" y="2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/>
          <a:lstStyle>
            <a:lvl1pPr algn="r">
              <a:defRPr sz="1200" smtClean="0"/>
            </a:lvl1pPr>
          </a:lstStyle>
          <a:p>
            <a:pPr>
              <a:defRPr/>
            </a:pPr>
            <a:fld id="{3B3E6D17-A4BE-4D1A-B7BE-734DCC8790D5}" type="datetimeFigureOut">
              <a:rPr lang="en-US"/>
              <a:pPr>
                <a:defRPr/>
              </a:pPr>
              <a:t>11/15/2019</a:t>
            </a:fld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30220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280" y="9430220"/>
            <a:ext cx="2944813" cy="496412"/>
          </a:xfrm>
          <a:prstGeom prst="rect">
            <a:avLst/>
          </a:prstGeom>
        </p:spPr>
        <p:txBody>
          <a:bodyPr vert="horz" lIns="88298" tIns="44149" rIns="88298" bIns="44149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E6E12360-72CD-4746-BCB5-206B3B1DEE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826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9" y="2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1D00D697-9853-4C2C-99FD-C377F55B2514}" type="datetimeFigureOut">
              <a:rPr lang="en-US"/>
              <a:pPr>
                <a:defRPr/>
              </a:pPr>
              <a:t>11/1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721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71" tIns="47836" rIns="95671" bIns="47836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5" y="4716706"/>
            <a:ext cx="5438775" cy="4467701"/>
          </a:xfrm>
          <a:prstGeom prst="rect">
            <a:avLst/>
          </a:prstGeom>
        </p:spPr>
        <p:txBody>
          <a:bodyPr vert="horz" lIns="95671" tIns="47836" rIns="95671" bIns="47836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220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9" y="9430220"/>
            <a:ext cx="2946400" cy="496412"/>
          </a:xfrm>
          <a:prstGeom prst="rect">
            <a:avLst/>
          </a:prstGeom>
        </p:spPr>
        <p:txBody>
          <a:bodyPr vert="horz" lIns="95671" tIns="47836" rIns="95671" bIns="4783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CC5010A-741E-4435-A3D3-92A08B4FBA1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93715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3.xml"/><Relationship Id="rId7" Type="http://schemas.openxmlformats.org/officeDocument/2006/relationships/image" Target="../media/image6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5.xml"/><Relationship Id="rId7" Type="http://schemas.openxmlformats.org/officeDocument/2006/relationships/image" Target="../media/image6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7.xml"/><Relationship Id="rId7" Type="http://schemas.openxmlformats.org/officeDocument/2006/relationships/image" Target="../media/image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9.xml"/><Relationship Id="rId7" Type="http://schemas.openxmlformats.org/officeDocument/2006/relationships/image" Target="../media/image6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1.xml"/><Relationship Id="rId7" Type="http://schemas.openxmlformats.org/officeDocument/2006/relationships/image" Target="../media/image6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6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5.xml"/><Relationship Id="rId7" Type="http://schemas.openxmlformats.org/officeDocument/2006/relationships/image" Target="../media/image6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7.xml"/><Relationship Id="rId7" Type="http://schemas.openxmlformats.org/officeDocument/2006/relationships/image" Target="../media/image6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9.xml"/><Relationship Id="rId7" Type="http://schemas.openxmlformats.org/officeDocument/2006/relationships/image" Target="../media/image6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1.xml"/><Relationship Id="rId7" Type="http://schemas.openxmlformats.org/officeDocument/2006/relationships/image" Target="../media/image6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3.xml"/><Relationship Id="rId7" Type="http://schemas.openxmlformats.org/officeDocument/2006/relationships/image" Target="../media/image6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5.xml"/><Relationship Id="rId7" Type="http://schemas.openxmlformats.org/officeDocument/2006/relationships/image" Target="../media/image6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7.xml"/><Relationship Id="rId7" Type="http://schemas.openxmlformats.org/officeDocument/2006/relationships/image" Target="../media/image6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9.xml"/><Relationship Id="rId7" Type="http://schemas.openxmlformats.org/officeDocument/2006/relationships/image" Target="../media/image6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1.xml"/><Relationship Id="rId7" Type="http://schemas.openxmlformats.org/officeDocument/2006/relationships/image" Target="../media/image6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3.xml"/><Relationship Id="rId7" Type="http://schemas.openxmlformats.org/officeDocument/2006/relationships/image" Target="../media/image6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1.xml"/><Relationship Id="rId7" Type="http://schemas.openxmlformats.org/officeDocument/2006/relationships/image" Target="../media/image6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3.xml"/><Relationship Id="rId7" Type="http://schemas.openxmlformats.org/officeDocument/2006/relationships/image" Target="../media/image6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5.xml"/><Relationship Id="rId7" Type="http://schemas.openxmlformats.org/officeDocument/2006/relationships/image" Target="../media/image6.jpeg"/><Relationship Id="rId2" Type="http://schemas.openxmlformats.org/officeDocument/2006/relationships/tags" Target="../tags/tag6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e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3.xml"/><Relationship Id="rId7" Type="http://schemas.openxmlformats.org/officeDocument/2006/relationships/image" Target="../media/image6.jpeg"/><Relationship Id="rId2" Type="http://schemas.openxmlformats.org/officeDocument/2006/relationships/tags" Target="../tags/tag7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5.xml"/><Relationship Id="rId7" Type="http://schemas.openxmlformats.org/officeDocument/2006/relationships/image" Target="../media/image6.jpeg"/><Relationship Id="rId2" Type="http://schemas.openxmlformats.org/officeDocument/2006/relationships/tags" Target="../tags/tag7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7.xml"/><Relationship Id="rId7" Type="http://schemas.openxmlformats.org/officeDocument/2006/relationships/image" Target="../media/image6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6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.xml"/><Relationship Id="rId7" Type="http://schemas.openxmlformats.org/officeDocument/2006/relationships/image" Target="../media/image6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image" Target="../media/image6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.xml"/><Relationship Id="rId7" Type="http://schemas.openxmlformats.org/officeDocument/2006/relationships/image" Target="../media/image6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image" Target="../media/image6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.xml"/><Relationship Id="rId7" Type="http://schemas.openxmlformats.org/officeDocument/2006/relationships/image" Target="../media/image6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>
          <a:xfrm>
            <a:off x="1" y="0"/>
            <a:ext cx="9906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2944" y="534396"/>
            <a:ext cx="3466869" cy="633942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42097" y="534498"/>
            <a:ext cx="4104565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35186" y="4480105"/>
            <a:ext cx="828709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5186" y="5449760"/>
            <a:ext cx="8287098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675603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479687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5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736271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5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731379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8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566417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8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315400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8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908419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9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476378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9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945879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95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898026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главле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294682"/>
              </p:ext>
            </p:extLst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1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19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2943" y="532580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2581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8" y="6572300"/>
            <a:ext cx="2787663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233892" y="532581"/>
            <a:ext cx="6135676" cy="6339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dirty="0" smtClean="0"/>
              <a:t>Оглавление</a:t>
            </a:r>
            <a:endParaRPr lang="ru-RU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904880" y="1771650"/>
            <a:ext cx="782830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600"/>
              </a:spcAft>
              <a:buAutoNum type="arabicPeriod"/>
            </a:pPr>
            <a:r>
              <a:rPr lang="ru-RU" sz="2000" dirty="0" smtClean="0"/>
              <a:t>Дорожная карта реализации</a:t>
            </a:r>
            <a:r>
              <a:rPr lang="ru-RU" sz="2000" baseline="0" dirty="0" smtClean="0"/>
              <a:t> Сценария 2 «Оптимальный»</a:t>
            </a:r>
            <a:endParaRPr lang="ru-RU" sz="2000" dirty="0" smtClean="0"/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AutoNum type="arabicPeriod"/>
            </a:pPr>
            <a:r>
              <a:rPr lang="ru-RU" sz="2000" dirty="0" smtClean="0"/>
              <a:t>Состав сценария 2 «Оптимальный»</a:t>
            </a:r>
          </a:p>
        </p:txBody>
      </p:sp>
    </p:spTree>
    <p:extLst>
      <p:ext uri="{BB962C8B-B14F-4D97-AF65-F5344CB8AC3E}">
        <p14:creationId xmlns:p14="http://schemas.microsoft.com/office/powerpoint/2010/main" val="352005257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9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776521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99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347113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286550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0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00921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2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10429496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2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en-US" sz="2000" baseline="0" dirty="0"/>
            </a:lvl1pPr>
          </a:lstStyle>
          <a:p>
            <a:pPr lvl="0"/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19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52943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8" y="6572300"/>
            <a:ext cx="2787663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4" y="238712"/>
            <a:ext cx="5550945" cy="159462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Т стратегии 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года </a:t>
            </a:r>
          </a:p>
        </p:txBody>
      </p:sp>
    </p:spTree>
    <p:extLst>
      <p:ext uri="{BB962C8B-B14F-4D97-AF65-F5344CB8AC3E}">
        <p14:creationId xmlns:p14="http://schemas.microsoft.com/office/powerpoint/2010/main" val="319210587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3572" y="534451"/>
            <a:ext cx="451580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3576" y="1562100"/>
            <a:ext cx="8987931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775"/>
            <a:ext cx="2311400" cy="365125"/>
          </a:xfrm>
        </p:spPr>
        <p:txBody>
          <a:bodyPr/>
          <a:lstStyle>
            <a:lvl1pPr>
              <a:defRPr sz="900" b="1"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52920" y="534395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defTabSz="457104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963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overs Stripes 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4"/>
            <a:ext cx="10003079" cy="6928225"/>
          </a:xfrm>
          <a:prstGeom prst="rect">
            <a:avLst/>
          </a:prstGeom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7324724" y="652781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fld id="{6DDF61C1-2457-E848-BB6B-E1DA9A549776}" type="slidenum">
              <a:rPr lang="en-US" sz="800" smtClean="0">
                <a:solidFill>
                  <a:prstClr val="white"/>
                </a:solidFill>
                <a:latin typeface="Arial"/>
                <a:cs typeface="Arial"/>
              </a:rPr>
              <a:pPr algn="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15" name="Picture 14" descr="Logo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2940" y="534396"/>
            <a:ext cx="3466869" cy="633942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3573" y="1549400"/>
            <a:ext cx="4272738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573" y="1880365"/>
            <a:ext cx="4272738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2160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59377" y="1549400"/>
            <a:ext cx="4462989" cy="330964"/>
          </a:xfrm>
          <a:solidFill>
            <a:srgbClr val="008000"/>
          </a:solidFill>
        </p:spPr>
        <p:txBody>
          <a:bodyPr lIns="144000" anchor="ctr"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59377" y="1880365"/>
            <a:ext cx="4462989" cy="4088636"/>
          </a:xfr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lIns="144000" tIns="180000" rIns="216000" bIns="9360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Click to edit Master text styles</a:t>
            </a:r>
          </a:p>
          <a:p>
            <a:pPr lvl="1"/>
            <a:r>
              <a:rPr lang="ru-RU" dirty="0" smtClean="0"/>
              <a:t>Second level</a:t>
            </a:r>
          </a:p>
          <a:p>
            <a:pPr lvl="2"/>
            <a:r>
              <a:rPr lang="ru-RU" dirty="0" smtClean="0"/>
              <a:t>Third level</a:t>
            </a:r>
          </a:p>
          <a:p>
            <a:pPr lvl="3"/>
            <a:r>
              <a:rPr lang="ru-RU" dirty="0" smtClean="0"/>
              <a:t>Fourth level</a:t>
            </a:r>
          </a:p>
          <a:p>
            <a:pPr lvl="4"/>
            <a:r>
              <a:rPr lang="ru-RU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0089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906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61" y="2540000"/>
            <a:ext cx="4104565" cy="1752600"/>
          </a:xfrm>
        </p:spPr>
        <p:txBody>
          <a:bodyPr bIns="187200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7723" y="534396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0" dirty="0">
              <a:solidFill>
                <a:prstClr val="white"/>
              </a:solidFill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61" y="534400"/>
            <a:ext cx="4104565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210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 bwMode="auto">
          <a:xfrm>
            <a:off x="1" y="0"/>
            <a:ext cx="9906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52946" y="534396"/>
            <a:ext cx="3466869" cy="633942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35186" y="4480105"/>
            <a:ext cx="828709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635186" y="5449760"/>
            <a:ext cx="8287098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11" descr="accenture.jpg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9956" y="366713"/>
            <a:ext cx="2029354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611130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3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ВТБ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b="25066"/>
          <a:stretch/>
        </p:blipFill>
        <p:spPr bwMode="auto">
          <a:xfrm>
            <a:off x="8770539" y="109172"/>
            <a:ext cx="1409095" cy="347528"/>
          </a:xfrm>
          <a:prstGeom prst="rect">
            <a:avLst/>
          </a:prstGeom>
          <a:noFill/>
        </p:spPr>
      </p:pic>
      <p:cxnSp>
        <p:nvCxnSpPr>
          <p:cNvPr id="8" name="Straight Connector 7"/>
          <p:cNvCxnSpPr/>
          <p:nvPr userDrawn="1"/>
        </p:nvCxnSpPr>
        <p:spPr>
          <a:xfrm>
            <a:off x="0" y="562736"/>
            <a:ext cx="9906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612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6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14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58502000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6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1403220503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6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1437350910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Covers Fields.jpg"/>
          <p:cNvPicPr>
            <a:picLocks noChangeAspect="1"/>
          </p:cNvPicPr>
          <p:nvPr/>
        </p:nvPicPr>
        <p:blipFill rotWithShape="1">
          <a:blip r:embed="rId2"/>
          <a:srcRect r="970"/>
          <a:stretch/>
        </p:blipFill>
        <p:spPr bwMode="auto">
          <a:xfrm>
            <a:off x="1" y="0"/>
            <a:ext cx="9906000" cy="4321088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452946" y="534396"/>
            <a:ext cx="3466869" cy="633942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35186" y="4480105"/>
            <a:ext cx="8287098" cy="843148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635186" y="5449760"/>
            <a:ext cx="8287098" cy="481140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11" descr="accenture.jpg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9956" y="366713"/>
            <a:ext cx="2029354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741297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7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14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2554479718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Т-стратегия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7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419366127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орожная карта_Accen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7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33892" y="534397"/>
            <a:ext cx="6135676" cy="633942"/>
          </a:xfrm>
        </p:spPr>
        <p:txBody>
          <a:bodyPr wrap="square" anchor="ctr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7324724" y="6527823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6452945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 bwMode="auto"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auto">
          <a:xfrm>
            <a:off x="4231997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rgbClr val="2B6030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Разработка ИТ - стратегии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rgbClr val="2B6030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algn="r">
              <a:defRPr/>
            </a:pPr>
            <a:r>
              <a:rPr lang="ru-RU" sz="800" dirty="0" smtClean="0">
                <a:solidFill>
                  <a:prstClr val="black"/>
                </a:solidFill>
              </a:rPr>
              <a:t>Отчёт «Дорожная карта перехода к целевому состоянию ИТ»</a:t>
            </a:r>
          </a:p>
        </p:txBody>
      </p:sp>
    </p:spTree>
    <p:extLst>
      <p:ext uri="{BB962C8B-B14F-4D97-AF65-F5344CB8AC3E}">
        <p14:creationId xmlns:p14="http://schemas.microsoft.com/office/powerpoint/2010/main" val="4012253076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4087354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2605577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2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5697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4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225970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47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3879395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4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Covers Stripes 0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" y="-7022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892" y="534397"/>
            <a:ext cx="6135676" cy="633942"/>
          </a:xfrm>
        </p:spPr>
        <p:txBody>
          <a:bodyPr wrap="square" anchor="b">
            <a:noAutofit/>
          </a:bodyPr>
          <a:lstStyle>
            <a:lvl1pPr>
              <a:defRPr sz="2000" baseline="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827"/>
            <a:ext cx="23114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452947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1547" y="6572252"/>
            <a:ext cx="3145309" cy="24237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01</a:t>
            </a:r>
            <a:r>
              <a:rPr lang="ru-RU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975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ccenture. All </a:t>
            </a:r>
            <a:r>
              <a:rPr lang="en-US" sz="975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 reserved.</a:t>
            </a:r>
          </a:p>
        </p:txBody>
      </p:sp>
      <p:sp>
        <p:nvSpPr>
          <p:cNvPr id="12" name="AcnRoadmap_ID_5"/>
          <p:cNvSpPr txBox="1"/>
          <p:nvPr userDrawn="1">
            <p:custDataLst>
              <p:tags r:id="rId3"/>
            </p:custDataLst>
          </p:nvPr>
        </p:nvSpPr>
        <p:spPr bwMode="gray">
          <a:xfrm>
            <a:off x="4231999" y="167467"/>
            <a:ext cx="5550945" cy="282573"/>
          </a:xfrm>
          <a:prstGeom prst="rect">
            <a:avLst/>
          </a:prstGeom>
          <a:noFill/>
        </p:spPr>
        <p:txBody>
          <a:bodyPr wrap="square" lIns="36000" tIns="0" rIns="36000" bIns="3600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  <a:r>
              <a:rPr lang="ru-RU" sz="800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работка ИТ</a:t>
            </a:r>
            <a:r>
              <a:rPr lang="ru-RU" sz="800" kern="0" spc="-30" baseline="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ратегии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"Россельхозбанк" </a:t>
            </a:r>
            <a:r>
              <a:rPr lang="ru-RU" sz="800" kern="0" spc="-3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 2020 </a:t>
            </a:r>
            <a:r>
              <a:rPr lang="ru-RU" sz="800" kern="0" spc="-30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</a:t>
            </a:r>
          </a:p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 smtClean="0"/>
              <a:t>Отчёт «ИТ-стратегия Банка»</a:t>
            </a:r>
          </a:p>
        </p:txBody>
      </p:sp>
    </p:spTree>
    <p:extLst>
      <p:ext uri="{BB962C8B-B14F-4D97-AF65-F5344CB8AC3E}">
        <p14:creationId xmlns:p14="http://schemas.microsoft.com/office/powerpoint/2010/main" val="16669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oleObject" Target="../embeddings/oleObject26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26.vml"/><Relationship Id="rId11" Type="http://schemas.openxmlformats.org/officeDocument/2006/relationships/tags" Target="../tags/tag58.xml"/><Relationship Id="rId5" Type="http://schemas.openxmlformats.org/officeDocument/2006/relationships/theme" Target="../theme/theme2.xml"/><Relationship Id="rId15" Type="http://schemas.openxmlformats.org/officeDocument/2006/relationships/image" Target="../media/image2.png"/><Relationship Id="rId10" Type="http://schemas.openxmlformats.org/officeDocument/2006/relationships/tags" Target="../tags/tag57.xml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56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oleObject" Target="../embeddings/oleObject30.bin"/><Relationship Id="rId3" Type="http://schemas.openxmlformats.org/officeDocument/2006/relationships/slideLayout" Target="../slideLayouts/slideLayout35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vmlDrawing" Target="../drawings/vmlDrawing30.vml"/><Relationship Id="rId11" Type="http://schemas.openxmlformats.org/officeDocument/2006/relationships/tags" Target="../tags/tag70.xml"/><Relationship Id="rId5" Type="http://schemas.openxmlformats.org/officeDocument/2006/relationships/theme" Target="../theme/theme3.xml"/><Relationship Id="rId15" Type="http://schemas.openxmlformats.org/officeDocument/2006/relationships/image" Target="../media/image2.png"/><Relationship Id="rId10" Type="http://schemas.openxmlformats.org/officeDocument/2006/relationships/tags" Target="../tags/tag69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6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3572" y="338997"/>
            <a:ext cx="451580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4158" y="1274553"/>
            <a:ext cx="8957347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93625" y="643892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10966" y="643892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37E6A53-12D0-4565-8FD2-2E3BCBAC06C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7191076" y="338997"/>
            <a:ext cx="2431343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Название презентации (задается в настройках footer)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62202462"/>
              </p:ext>
            </p:extLst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824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gray">
          <a:xfrm>
            <a:off x="0" y="0"/>
            <a:ext cx="9906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10" name="AcnSubjectTitle_ID_9" hidden="1"/>
          <p:cNvSpPr txBox="1"/>
          <p:nvPr userDrawn="1">
            <p:custDataLst>
              <p:tags r:id="rId32"/>
            </p:custDataLst>
          </p:nvPr>
        </p:nvSpPr>
        <p:spPr bwMode="gray">
          <a:xfrm>
            <a:off x="194338" y="646113"/>
            <a:ext cx="9512167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US" sz="1400" b="1" dirty="0"/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33"/>
            </p:custDataLst>
          </p:nvPr>
        </p:nvSpPr>
        <p:spPr bwMode="gray">
          <a:xfrm>
            <a:off x="0" y="3"/>
            <a:ext cx="8323792" cy="174851"/>
          </a:xfrm>
          <a:prstGeom prst="rect">
            <a:avLst/>
          </a:prstGeom>
          <a:noFill/>
        </p:spPr>
        <p:txBody>
          <a:bodyPr lIns="36000" tIns="0" rIns="36000" bIns="36000">
            <a:spAutoFit/>
          </a:bodyPr>
          <a:lstStyle/>
          <a:p>
            <a:pPr>
              <a:defRPr/>
            </a:pPr>
            <a:r>
              <a:rPr lang="en-US" sz="900" i="1" dirty="0">
                <a:solidFill>
                  <a:srgbClr val="FFFFFF"/>
                </a:solidFill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34"/>
            </p:custDataLst>
          </p:nvPr>
        </p:nvSpPr>
        <p:spPr bwMode="gray">
          <a:xfrm>
            <a:off x="9706504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400" rIns="0" bIns="254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35"/>
            </p:custDataLst>
          </p:nvPr>
        </p:nvCxnSpPr>
        <p:spPr bwMode="gray">
          <a:xfrm rot="5400000" flipH="1" flipV="1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36"/>
            </p:custDataLst>
          </p:nvPr>
        </p:nvCxnSpPr>
        <p:spPr bwMode="gray">
          <a:xfrm rot="5400000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800" r:id="rId2"/>
    <p:sldLayoutId id="2147483764" r:id="rId3"/>
    <p:sldLayoutId id="2147483766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802" r:id="rId24"/>
    <p:sldLayoutId id="2147483836" r:id="rId25"/>
    <p:sldLayoutId id="2147483910" r:id="rId26"/>
    <p:sldLayoutId id="2147483911" r:id="rId27"/>
    <p:sldLayoutId id="2147483912" r:id="rId2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39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43572" y="338997"/>
            <a:ext cx="451580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74158" y="1274553"/>
            <a:ext cx="8957347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3793625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7310966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37E6A53-12D0-4565-8FD2-2E3BCBAC06CA}" type="slidenum">
              <a:rPr 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auto">
          <a:xfrm>
            <a:off x="7191078" y="338997"/>
            <a:ext cx="2431343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black"/>
                </a:solidFill>
              </a:rPr>
              <a:t>Название презентации (задается в настройках footer)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62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auto">
          <a:xfrm>
            <a:off x="0" y="0"/>
            <a:ext cx="9906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AcnSubjectTitle_ID_9" hidden="1"/>
          <p:cNvSpPr txBox="1"/>
          <p:nvPr userDrawn="1">
            <p:custDataLst>
              <p:tags r:id="rId8"/>
            </p:custDataLst>
          </p:nvPr>
        </p:nvSpPr>
        <p:spPr bwMode="auto">
          <a:xfrm>
            <a:off x="194338" y="646113"/>
            <a:ext cx="9512167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9"/>
            </p:custDataLst>
          </p:nvPr>
        </p:nvSpPr>
        <p:spPr bwMode="auto">
          <a:xfrm>
            <a:off x="0" y="3"/>
            <a:ext cx="8323792" cy="174851"/>
          </a:xfrm>
          <a:prstGeom prst="rect">
            <a:avLst/>
          </a:prstGeom>
          <a:noFill/>
        </p:spPr>
        <p:txBody>
          <a:bodyPr lIns="36000" tIns="0" rIns="36000" bIns="3600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FFFFFF"/>
                </a:solidFill>
                <a:latin typeface="Calibri"/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10"/>
            </p:custDataLst>
          </p:nvPr>
        </p:nvSpPr>
        <p:spPr bwMode="auto">
          <a:xfrm>
            <a:off x="9706504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400" rIns="0" bIns="254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eaLnBrk="0" hangingPunct="0"/>
            <a:r>
              <a:rPr lang="en-US" sz="1400" b="1" dirty="0" smtClean="0">
                <a:solidFill>
                  <a:prstClr val="black"/>
                </a:solidFill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11"/>
            </p:custDataLst>
          </p:nvPr>
        </p:nvCxnSpPr>
        <p:spPr bwMode="auto">
          <a:xfrm rot="5400000" flipH="1" flipV="1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12"/>
            </p:custDataLst>
          </p:nvPr>
        </p:nvCxnSpPr>
        <p:spPr bwMode="auto">
          <a:xfrm rot="5400000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575821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643572" y="338997"/>
            <a:ext cx="4515804" cy="545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74158" y="1274553"/>
            <a:ext cx="8957347" cy="499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3793625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7310966" y="643892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37E6A53-12D0-4565-8FD2-2E3BCBAC06CA}" type="slidenum">
              <a:rPr 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auto">
          <a:xfrm>
            <a:off x="7191078" y="338997"/>
            <a:ext cx="2431343" cy="54529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8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black"/>
                </a:solidFill>
              </a:rPr>
              <a:t>Название презентации (задается в настройках footer)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753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1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53" y="1592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C Banner"/>
          <p:cNvSpPr>
            <a:spLocks noChangeArrowheads="1"/>
          </p:cNvSpPr>
          <p:nvPr userDrawn="1"/>
        </p:nvSpPr>
        <p:spPr bwMode="auto">
          <a:xfrm>
            <a:off x="0" y="0"/>
            <a:ext cx="9906000" cy="584200"/>
          </a:xfrm>
          <a:prstGeom prst="rect">
            <a:avLst/>
          </a:prstGeom>
          <a:solidFill>
            <a:schemeClr val="accent2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AcnSubjectTitle_ID_9" hidden="1"/>
          <p:cNvSpPr txBox="1"/>
          <p:nvPr userDrawn="1">
            <p:custDataLst>
              <p:tags r:id="rId8"/>
            </p:custDataLst>
          </p:nvPr>
        </p:nvSpPr>
        <p:spPr bwMode="auto">
          <a:xfrm>
            <a:off x="194338" y="646113"/>
            <a:ext cx="9512167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latin typeface="Calibri"/>
              </a:rPr>
              <a:t>Subject Title</a:t>
            </a:r>
          </a:p>
        </p:txBody>
      </p:sp>
      <p:sp>
        <p:nvSpPr>
          <p:cNvPr id="11" name="AcnRoadmap_ID_12" hidden="1"/>
          <p:cNvSpPr txBox="1"/>
          <p:nvPr userDrawn="1">
            <p:custDataLst>
              <p:tags r:id="rId9"/>
            </p:custDataLst>
          </p:nvPr>
        </p:nvSpPr>
        <p:spPr bwMode="auto">
          <a:xfrm>
            <a:off x="0" y="3"/>
            <a:ext cx="8323792" cy="174851"/>
          </a:xfrm>
          <a:prstGeom prst="rect">
            <a:avLst/>
          </a:prstGeom>
          <a:noFill/>
        </p:spPr>
        <p:txBody>
          <a:bodyPr lIns="36000" tIns="0" rIns="36000" bIns="3600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i="1" dirty="0">
                <a:solidFill>
                  <a:srgbClr val="FFFFFF"/>
                </a:solidFill>
                <a:latin typeface="Calibri"/>
              </a:rPr>
              <a:t>Roadmap</a:t>
            </a:r>
          </a:p>
        </p:txBody>
      </p:sp>
      <p:sp>
        <p:nvSpPr>
          <p:cNvPr id="13" name="AcnStamp_ID_10" hidden="1"/>
          <p:cNvSpPr/>
          <p:nvPr userDrawn="1">
            <p:custDataLst>
              <p:tags r:id="rId10"/>
            </p:custDataLst>
          </p:nvPr>
        </p:nvSpPr>
        <p:spPr bwMode="auto">
          <a:xfrm>
            <a:off x="9706504" y="754062"/>
            <a:ext cx="0" cy="0"/>
          </a:xfrm>
          <a:prstGeom prst="leftRightArrow">
            <a:avLst>
              <a:gd name="adj1" fmla="val 0"/>
              <a:gd name="adj2" fmla="val 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25400" rIns="0" bIns="254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eaLnBrk="0" hangingPunct="0"/>
            <a:r>
              <a:rPr lang="en-US" sz="1400" b="1" dirty="0" smtClean="0">
                <a:solidFill>
                  <a:prstClr val="black"/>
                </a:solidFill>
              </a:rPr>
              <a:t>MASTER STAMP</a:t>
            </a:r>
          </a:p>
        </p:txBody>
      </p:sp>
      <p:cxnSp>
        <p:nvCxnSpPr>
          <p:cNvPr id="14" name="AcnStpConnector_ID_13" hidden="1"/>
          <p:cNvCxnSpPr>
            <a:stCxn id="10" idx="2"/>
            <a:endCxn id="10" idx="0"/>
          </p:cNvCxnSpPr>
          <p:nvPr userDrawn="1">
            <p:custDataLst>
              <p:tags r:id="rId11"/>
            </p:custDataLst>
          </p:nvPr>
        </p:nvCxnSpPr>
        <p:spPr bwMode="auto">
          <a:xfrm rot="5400000" flipH="1" flipV="1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AcnStpConnector_ID_14" hidden="1"/>
          <p:cNvCxnSpPr>
            <a:stCxn id="10" idx="4"/>
            <a:endCxn id="10" idx="6"/>
          </p:cNvCxnSpPr>
          <p:nvPr userDrawn="1">
            <p:custDataLst>
              <p:tags r:id="rId12"/>
            </p:custDataLst>
          </p:nvPr>
        </p:nvCxnSpPr>
        <p:spPr bwMode="auto">
          <a:xfrm rot="5400000">
            <a:off x="9706570" y="753997"/>
            <a:ext cx="1588" cy="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26324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180975" indent="-163513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200" kern="1200">
          <a:solidFill>
            <a:schemeClr val="tx1"/>
          </a:solidFill>
          <a:latin typeface="Arial"/>
          <a:ea typeface="+mn-ea"/>
          <a:cs typeface="Arial"/>
        </a:defRPr>
      </a:lvl1pPr>
      <a:lvl2pPr marL="360363" indent="-179388" algn="l" defTabSz="358775" rtl="0" eaLnBrk="1" latinLnBrk="0" hangingPunct="1">
        <a:spcBef>
          <a:spcPct val="20000"/>
        </a:spcBef>
        <a:buClr>
          <a:srgbClr val="266234"/>
        </a:buClr>
        <a:buSzPct val="140000"/>
        <a:buFont typeface="Arial"/>
        <a:buChar char="•"/>
        <a:defRPr sz="1200" kern="1200">
          <a:solidFill>
            <a:schemeClr val="tx1"/>
          </a:solidFill>
          <a:latin typeface="Arial"/>
          <a:ea typeface="+mn-ea"/>
          <a:cs typeface="Arial"/>
        </a:defRPr>
      </a:lvl2pPr>
      <a:lvl3pPr marL="536575" indent="-157163" algn="l" defTabSz="457200" rtl="0" eaLnBrk="1" latinLnBrk="0" hangingPunct="1">
        <a:spcBef>
          <a:spcPct val="20000"/>
        </a:spcBef>
        <a:buClr>
          <a:srgbClr val="266234"/>
        </a:buClr>
        <a:buSzPct val="120000"/>
        <a:buFont typeface="Wingdings" charset="2"/>
        <a:buChar char="§"/>
        <a:defRPr sz="1200" kern="1200">
          <a:solidFill>
            <a:schemeClr val="tx1"/>
          </a:solidFill>
          <a:latin typeface="Arial"/>
          <a:ea typeface="+mn-ea"/>
          <a:cs typeface="Arial"/>
        </a:defRPr>
      </a:lvl3pPr>
      <a:lvl4pPr marL="715963" indent="-174625" algn="l" defTabSz="457200" rtl="0" eaLnBrk="1" latinLnBrk="0" hangingPunct="1">
        <a:spcBef>
          <a:spcPct val="20000"/>
        </a:spcBef>
        <a:buClr>
          <a:srgbClr val="266234"/>
        </a:buClr>
        <a:buFont typeface="Arial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4pPr>
      <a:lvl5pPr marL="896938" indent="-176213" algn="l" defTabSz="457200" rtl="0" eaLnBrk="1" latinLnBrk="0" hangingPunct="1">
        <a:spcBef>
          <a:spcPct val="20000"/>
        </a:spcBef>
        <a:buClr>
          <a:srgbClr val="266234"/>
        </a:buClr>
        <a:buSzPct val="50000"/>
        <a:buFont typeface="Wingdings" charset="2"/>
        <a:buChar char="u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5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Relationship Id="rId9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8.png"/><Relationship Id="rId2" Type="http://schemas.openxmlformats.org/officeDocument/2006/relationships/tags" Target="../tags/tag8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6.xml"/><Relationship Id="rId7" Type="http://schemas.microsoft.com/office/2007/relationships/hdphoto" Target="../media/hdphoto1.wdp"/><Relationship Id="rId2" Type="http://schemas.openxmlformats.org/officeDocument/2006/relationships/tags" Target="../tags/tag7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hyperlink" Target="consultantplus://offline/ref=4E1A2CC63FAACADA5F348CFCC32C99061A7D11E1A7C00E55A19782B254334003EE961748ABAC96675499F43A34695E777854B8131CD51E11UE23P" TargetMode="External"/><Relationship Id="rId2" Type="http://schemas.openxmlformats.org/officeDocument/2006/relationships/tags" Target="../tags/tag80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00472" y="2540000"/>
            <a:ext cx="4680520" cy="1861108"/>
          </a:xfrm>
        </p:spPr>
        <p:txBody>
          <a:bodyPr>
            <a:noAutofit/>
          </a:bodyPr>
          <a:lstStyle/>
          <a:p>
            <a:r>
              <a:rPr lang="ru-RU" sz="1600" dirty="0" smtClean="0">
                <a:latin typeface="+mn-lt"/>
              </a:rPr>
              <a:t>Новый механизм </a:t>
            </a:r>
            <a:r>
              <a:rPr lang="ru-RU" sz="1600" dirty="0">
                <a:latin typeface="+mn-lt"/>
              </a:rPr>
              <a:t>государственной поддержки</a:t>
            </a:r>
            <a:br>
              <a:rPr lang="ru-RU" sz="1600" dirty="0">
                <a:latin typeface="+mn-lt"/>
              </a:rPr>
            </a:br>
            <a:r>
              <a:rPr lang="ru-RU" sz="1600" dirty="0" smtClean="0">
                <a:latin typeface="+mn-lt"/>
              </a:rPr>
              <a:t>предприятий АПК, утвержденный постановлением </a:t>
            </a:r>
            <a:r>
              <a:rPr lang="ru-RU" sz="1600" dirty="0">
                <a:latin typeface="+mn-lt"/>
              </a:rPr>
              <a:t>Правительства Российской Федерации от 26.04.2019 №512 </a:t>
            </a:r>
          </a:p>
        </p:txBody>
      </p:sp>
    </p:spTree>
    <p:extLst>
      <p:ext uri="{BB962C8B-B14F-4D97-AF65-F5344CB8AC3E}">
        <p14:creationId xmlns:p14="http://schemas.microsoft.com/office/powerpoint/2010/main" val="4040595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00472" y="2540000"/>
            <a:ext cx="5508612" cy="1861108"/>
          </a:xfrm>
        </p:spPr>
        <p:txBody>
          <a:bodyPr>
            <a:noAutofit/>
          </a:bodyPr>
          <a:lstStyle/>
          <a:p>
            <a:r>
              <a:rPr lang="ru-RU" sz="1600" dirty="0" smtClean="0">
                <a:latin typeface="+mn-lt"/>
              </a:rPr>
              <a:t>ПРИЛОЖЕНИЯ </a:t>
            </a:r>
            <a:endParaRPr lang="ru-RU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9443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596516" y="1407382"/>
            <a:ext cx="8640960" cy="461665"/>
          </a:xfrm>
          <a:prstGeom prst="rect">
            <a:avLst/>
          </a:prstGeom>
          <a:solidFill>
            <a:schemeClr val="accent5">
              <a:alpha val="50000"/>
            </a:schemeClr>
          </a:solidFill>
          <a:effectLst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Приказы Минсельхоза России, действующие в рамках постановления Правительства РФ</a:t>
            </a:r>
          </a:p>
          <a:p>
            <a:pPr algn="ctr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от 26.04.2019 № 512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08484" y="534451"/>
            <a:ext cx="6120680" cy="633943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ВСПОМОГАТЕЛЬНЫЕ НОРМАТИВНЫЕ ПРАВОВЫЕ АКТЫ МИНСЕЛЬХОЗА РОССИИ, ОБЕСПЕЧИВАЮЩИЕ РЕАЛИЗАЦИЮ  МЕХАНИЗМА ЛЬГОТНОГО </a:t>
            </a: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КРЕДИТОВАНИЯ</a:t>
            </a:r>
            <a:endParaRPr lang="ru-RU" sz="1400" dirty="0">
              <a:solidFill>
                <a:srgbClr val="006600"/>
              </a:solid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0170577"/>
              </p:ext>
            </p:extLst>
          </p:nvPr>
        </p:nvGraphicFramePr>
        <p:xfrm>
          <a:off x="592768" y="2095088"/>
          <a:ext cx="8644708" cy="356616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2019973">
                  <a:extLst>
                    <a:ext uri="{9D8B030D-6E8A-4147-A177-3AD203B41FA5}">
                      <a16:colId xmlns="" xmlns:a16="http://schemas.microsoft.com/office/drawing/2014/main" val="3522578765"/>
                    </a:ext>
                  </a:extLst>
                </a:gridCol>
                <a:gridCol w="6624735">
                  <a:extLst>
                    <a:ext uri="{9D8B030D-6E8A-4147-A177-3AD203B41FA5}">
                      <a16:colId xmlns="" xmlns:a16="http://schemas.microsoft.com/office/drawing/2014/main" val="31770472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Приказ</a:t>
                      </a:r>
                    </a:p>
                    <a:p>
                      <a:pPr algn="ctr"/>
                      <a:r>
                        <a:rPr lang="ru-RU" sz="1100" b="0" dirty="0" smtClean="0"/>
                        <a:t> от 12.07.2019 № 403 </a:t>
                      </a:r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b="0" dirty="0" smtClean="0"/>
                        <a:t>Об утверждении перечня продукции растениеводства и животноводства и ее переработки</a:t>
                      </a:r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7240994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/>
                        <a:t>Приказ </a:t>
                      </a:r>
                    </a:p>
                    <a:p>
                      <a:pPr algn="ctr"/>
                      <a:r>
                        <a:rPr lang="ru-RU" sz="1100" kern="1200" dirty="0" smtClean="0"/>
                        <a:t>от 09.07.2019 № 389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/>
                        <a:t>Об утверждении перечня целевого использования льготных инвестиционных кредит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42917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/>
                        <a:t>Приказ </a:t>
                      </a:r>
                    </a:p>
                    <a:p>
                      <a:pPr algn="ctr"/>
                      <a:r>
                        <a:rPr lang="ru-RU" sz="1100" kern="1200" dirty="0" smtClean="0"/>
                        <a:t>от 25.06.2019 № 347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/>
                        <a:t>Об утверждении порядка отбора российских кредитных организаций и международных финансовых организаций в качестве уполномоченных банк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046897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/>
                        <a:t>Приказ </a:t>
                      </a:r>
                    </a:p>
                    <a:p>
                      <a:pPr algn="ctr"/>
                      <a:r>
                        <a:rPr lang="ru-RU" sz="1100" kern="1200" dirty="0" smtClean="0"/>
                        <a:t>от 11.07.2019 № 398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/>
                        <a:t>О порядке утверждения плана льготного кредитования заемщиков, заключивших СПК на очередной финансовый год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4924801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/>
                        <a:t>Приказ </a:t>
                      </a:r>
                    </a:p>
                    <a:p>
                      <a:pPr algn="ctr"/>
                      <a:r>
                        <a:rPr lang="ru-RU" sz="1100" kern="1200" dirty="0" smtClean="0"/>
                        <a:t>от 09.07.2019 № 388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/>
                        <a:t>Об утверждении порядка и критериев отбора сельскохозяйственных товаропроизводителей (за исключением сельскохозяйственных кредитных потребительских кооперативов), организаций и ИП, осуществляющих производство, первичную и (или) последующую (промышленную) переработку сельскохозяйственной продукции и ее реализацию, для заключения СПК, а также формы СП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885648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/>
                        <a:t>Приказ</a:t>
                      </a:r>
                    </a:p>
                    <a:p>
                      <a:pPr algn="ctr"/>
                      <a:r>
                        <a:rPr lang="ru-RU" sz="1100" kern="1200" dirty="0" smtClean="0"/>
                        <a:t> от 16.07.2019 № 411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/>
                        <a:t>Об утверждении порядка включения сельскохозяйственных товаропроизводителей (за исключением сельскохозяйственных кредитных потребительских кооперативов), организаций и ИП, осуществляющих производство, первичную и (или) последующую (промышленную) переработку сельскохозяйственной продукции и ее реализацию, содержащихся в реестре потенциальных заемщиков, в реестр заемщиков и исключения из него, а также форм документов, предусмотренных постановлением Правительства РФ от 26.04.2019 № 512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3321805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088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516230"/>
            <a:ext cx="5378171" cy="734308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НАПРАВЛЕНИЕ ДЕЯТЕЛЬНОСТИ ЗАЕМЩИКА ПРИ ПОЛУЧЕНИИ ЛЬГОТНОГО ФИНАНСИРОВАНИЯ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Oval 37">
            <a:extLst>
              <a:ext uri="{FF2B5EF4-FFF2-40B4-BE49-F238E27FC236}">
                <a16:creationId xmlns="" xmlns:a16="http://schemas.microsoft.com/office/drawing/2014/main" id="{637CCC31-1620-4873-9676-BE550EEFF867}"/>
              </a:ext>
            </a:extLst>
          </p:cNvPr>
          <p:cNvSpPr/>
          <p:nvPr/>
        </p:nvSpPr>
        <p:spPr>
          <a:xfrm>
            <a:off x="564186" y="3235218"/>
            <a:ext cx="705562" cy="705562"/>
          </a:xfrm>
          <a:prstGeom prst="ellipse">
            <a:avLst/>
          </a:prstGeom>
          <a:solidFill>
            <a:srgbClr val="176C29"/>
          </a:solidFill>
          <a:ln w="3175">
            <a:solidFill>
              <a:srgbClr val="E5EA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Arial" panose="020B0604020202020204" pitchFamily="34" charset="0"/>
              <a:cs typeface="Arial" pitchFamily="34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9C9848FF-C712-432B-83CE-4F82F5BC19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199" y="3380116"/>
            <a:ext cx="510065" cy="510065"/>
          </a:xfrm>
          <a:prstGeom prst="rect">
            <a:avLst/>
          </a:prstGeom>
          <a:effectLst/>
        </p:spPr>
      </p:pic>
      <p:sp>
        <p:nvSpPr>
          <p:cNvPr id="15" name="Oval 37">
            <a:extLst>
              <a:ext uri="{FF2B5EF4-FFF2-40B4-BE49-F238E27FC236}">
                <a16:creationId xmlns="" xmlns:a16="http://schemas.microsoft.com/office/drawing/2014/main" id="{637CCC31-1620-4873-9676-BE550EEFF867}"/>
              </a:ext>
            </a:extLst>
          </p:cNvPr>
          <p:cNvSpPr/>
          <p:nvPr/>
        </p:nvSpPr>
        <p:spPr>
          <a:xfrm>
            <a:off x="571419" y="2429334"/>
            <a:ext cx="705562" cy="705562"/>
          </a:xfrm>
          <a:prstGeom prst="ellipse">
            <a:avLst/>
          </a:prstGeom>
          <a:solidFill>
            <a:srgbClr val="176C29"/>
          </a:solidFill>
          <a:ln w="3175">
            <a:solidFill>
              <a:srgbClr val="E5EA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6" name="Oval 37">
            <a:extLst>
              <a:ext uri="{FF2B5EF4-FFF2-40B4-BE49-F238E27FC236}">
                <a16:creationId xmlns="" xmlns:a16="http://schemas.microsoft.com/office/drawing/2014/main" id="{637CCC31-1620-4873-9676-BE550EEFF867}"/>
              </a:ext>
            </a:extLst>
          </p:cNvPr>
          <p:cNvSpPr/>
          <p:nvPr/>
        </p:nvSpPr>
        <p:spPr>
          <a:xfrm>
            <a:off x="571418" y="1611929"/>
            <a:ext cx="705562" cy="705562"/>
          </a:xfrm>
          <a:prstGeom prst="ellipse">
            <a:avLst/>
          </a:prstGeom>
          <a:solidFill>
            <a:srgbClr val="176C29"/>
          </a:solidFill>
          <a:ln w="3175">
            <a:solidFill>
              <a:srgbClr val="E5EA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Arial" panose="020B0604020202020204" pitchFamily="34" charset="0"/>
              <a:cs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204" y="1731795"/>
            <a:ext cx="432053" cy="432053"/>
          </a:xfrm>
          <a:prstGeom prst="rect">
            <a:avLst/>
          </a:prstGeom>
          <a:effectLst/>
        </p:spPr>
      </p:pic>
      <p:sp>
        <p:nvSpPr>
          <p:cNvPr id="17" name="TextBox 16"/>
          <p:cNvSpPr txBox="1"/>
          <p:nvPr/>
        </p:nvSpPr>
        <p:spPr>
          <a:xfrm>
            <a:off x="1629111" y="1746860"/>
            <a:ext cx="2039726" cy="3693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стениеводство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629111" y="2583227"/>
            <a:ext cx="1981440" cy="3693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Животноводство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629111" y="3398512"/>
            <a:ext cx="3795206" cy="3693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олочное и мясное скотоводство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lock Arc 10">
            <a:extLst>
              <a:ext uri="{FF2B5EF4-FFF2-40B4-BE49-F238E27FC236}">
                <a16:creationId xmlns="" xmlns:a16="http://schemas.microsoft.com/office/drawing/2014/main" id="{76C234E9-89A7-4A15-9ABC-80FD52F9AB8D}"/>
              </a:ext>
            </a:extLst>
          </p:cNvPr>
          <p:cNvSpPr/>
          <p:nvPr/>
        </p:nvSpPr>
        <p:spPr>
          <a:xfrm>
            <a:off x="726199" y="2664479"/>
            <a:ext cx="444265" cy="288157"/>
          </a:xfrm>
          <a:custGeom>
            <a:avLst/>
            <a:gdLst/>
            <a:ahLst/>
            <a:cxnLst/>
            <a:rect l="l" t="t" r="r" b="b"/>
            <a:pathLst>
              <a:path w="3219104" h="2180445">
                <a:moveTo>
                  <a:pt x="631935" y="660566"/>
                </a:moveTo>
                <a:cubicBezTo>
                  <a:pt x="582229" y="660566"/>
                  <a:pt x="541935" y="700860"/>
                  <a:pt x="541935" y="750566"/>
                </a:cubicBezTo>
                <a:cubicBezTo>
                  <a:pt x="541935" y="800272"/>
                  <a:pt x="582229" y="840566"/>
                  <a:pt x="631935" y="840566"/>
                </a:cubicBezTo>
                <a:cubicBezTo>
                  <a:pt x="681641" y="840566"/>
                  <a:pt x="721935" y="800272"/>
                  <a:pt x="721935" y="750566"/>
                </a:cubicBezTo>
                <a:cubicBezTo>
                  <a:pt x="721935" y="700860"/>
                  <a:pt x="681641" y="660566"/>
                  <a:pt x="631935" y="660566"/>
                </a:cubicBezTo>
                <a:close/>
                <a:moveTo>
                  <a:pt x="2920524" y="132986"/>
                </a:moveTo>
                <a:cubicBezTo>
                  <a:pt x="2884582" y="132986"/>
                  <a:pt x="2855445" y="171564"/>
                  <a:pt x="2855445" y="219152"/>
                </a:cubicBezTo>
                <a:cubicBezTo>
                  <a:pt x="2855445" y="266740"/>
                  <a:pt x="2884582" y="305318"/>
                  <a:pt x="2920524" y="305318"/>
                </a:cubicBezTo>
                <a:cubicBezTo>
                  <a:pt x="2956466" y="305318"/>
                  <a:pt x="2985603" y="266740"/>
                  <a:pt x="2985603" y="219152"/>
                </a:cubicBezTo>
                <a:cubicBezTo>
                  <a:pt x="2985603" y="171564"/>
                  <a:pt x="2956466" y="132986"/>
                  <a:pt x="2920524" y="132986"/>
                </a:cubicBezTo>
                <a:close/>
                <a:moveTo>
                  <a:pt x="1840097" y="123357"/>
                </a:moveTo>
                <a:cubicBezTo>
                  <a:pt x="1690593" y="125267"/>
                  <a:pt x="1541569" y="163386"/>
                  <a:pt x="1407089" y="237534"/>
                </a:cubicBezTo>
                <a:lnTo>
                  <a:pt x="1442443" y="299445"/>
                </a:lnTo>
                <a:cubicBezTo>
                  <a:pt x="1690026" y="162934"/>
                  <a:pt x="1991162" y="159087"/>
                  <a:pt x="2242273" y="289227"/>
                </a:cubicBezTo>
                <a:lnTo>
                  <a:pt x="2275978" y="226435"/>
                </a:lnTo>
                <a:cubicBezTo>
                  <a:pt x="2139582" y="155746"/>
                  <a:pt x="1989600" y="121447"/>
                  <a:pt x="1840097" y="123357"/>
                </a:cubicBezTo>
                <a:close/>
                <a:moveTo>
                  <a:pt x="1808744" y="1233"/>
                </a:moveTo>
                <a:cubicBezTo>
                  <a:pt x="2156106" y="-14520"/>
                  <a:pt x="2554236" y="122009"/>
                  <a:pt x="2727916" y="332053"/>
                </a:cubicBezTo>
                <a:lnTo>
                  <a:pt x="2797407" y="426906"/>
                </a:lnTo>
                <a:cubicBezTo>
                  <a:pt x="2816730" y="407744"/>
                  <a:pt x="2822914" y="396798"/>
                  <a:pt x="2848347" y="374270"/>
                </a:cubicBezTo>
                <a:cubicBezTo>
                  <a:pt x="2789714" y="335227"/>
                  <a:pt x="2770554" y="301522"/>
                  <a:pt x="2770554" y="211287"/>
                </a:cubicBezTo>
                <a:cubicBezTo>
                  <a:pt x="2770554" y="109060"/>
                  <a:pt x="2826850" y="34523"/>
                  <a:pt x="2918697" y="33333"/>
                </a:cubicBezTo>
                <a:cubicBezTo>
                  <a:pt x="3010544" y="32143"/>
                  <a:pt x="3068737" y="122977"/>
                  <a:pt x="3064459" y="218431"/>
                </a:cubicBezTo>
                <a:cubicBezTo>
                  <a:pt x="3062319" y="266188"/>
                  <a:pt x="3063213" y="242475"/>
                  <a:pt x="3054577" y="285936"/>
                </a:cubicBezTo>
                <a:cubicBezTo>
                  <a:pt x="3088600" y="260795"/>
                  <a:pt x="3146396" y="297212"/>
                  <a:pt x="3198377" y="27802"/>
                </a:cubicBezTo>
                <a:cubicBezTo>
                  <a:pt x="3270974" y="270322"/>
                  <a:pt x="3142267" y="378871"/>
                  <a:pt x="2977023" y="405424"/>
                </a:cubicBezTo>
                <a:cubicBezTo>
                  <a:pt x="2937650" y="455263"/>
                  <a:pt x="2906651" y="507366"/>
                  <a:pt x="2854455" y="531728"/>
                </a:cubicBezTo>
                <a:cubicBezTo>
                  <a:pt x="2854593" y="531917"/>
                  <a:pt x="2854687" y="532126"/>
                  <a:pt x="2854781" y="532336"/>
                </a:cubicBezTo>
                <a:lnTo>
                  <a:pt x="2914835" y="719911"/>
                </a:lnTo>
                <a:cubicBezTo>
                  <a:pt x="2982387" y="1030651"/>
                  <a:pt x="2875068" y="1334999"/>
                  <a:pt x="2751965" y="1458417"/>
                </a:cubicBezTo>
                <a:cubicBezTo>
                  <a:pt x="2718119" y="1752479"/>
                  <a:pt x="2636178" y="1904762"/>
                  <a:pt x="2564924" y="2133185"/>
                </a:cubicBezTo>
                <a:cubicBezTo>
                  <a:pt x="2548001" y="2174319"/>
                  <a:pt x="2290597" y="2162941"/>
                  <a:pt x="2284362" y="2130560"/>
                </a:cubicBezTo>
                <a:cubicBezTo>
                  <a:pt x="2253189" y="1989654"/>
                  <a:pt x="2205984" y="1832997"/>
                  <a:pt x="2190842" y="1681589"/>
                </a:cubicBezTo>
                <a:cubicBezTo>
                  <a:pt x="1937891" y="1727975"/>
                  <a:pt x="1628829" y="1727099"/>
                  <a:pt x="1429318" y="1710471"/>
                </a:cubicBezTo>
                <a:cubicBezTo>
                  <a:pt x="1387456" y="1891634"/>
                  <a:pt x="1268107" y="2057044"/>
                  <a:pt x="1143413" y="2180445"/>
                </a:cubicBezTo>
                <a:lnTo>
                  <a:pt x="943012" y="2180445"/>
                </a:lnTo>
                <a:cubicBezTo>
                  <a:pt x="894916" y="2170818"/>
                  <a:pt x="902932" y="1825120"/>
                  <a:pt x="910948" y="1650083"/>
                </a:cubicBezTo>
                <a:cubicBezTo>
                  <a:pt x="600994" y="1508303"/>
                  <a:pt x="-80369" y="1319263"/>
                  <a:pt x="7807" y="838786"/>
                </a:cubicBezTo>
                <a:cubicBezTo>
                  <a:pt x="13151" y="796777"/>
                  <a:pt x="184160" y="802028"/>
                  <a:pt x="275009" y="799402"/>
                </a:cubicBezTo>
                <a:cubicBezTo>
                  <a:pt x="369419" y="659373"/>
                  <a:pt x="418407" y="582356"/>
                  <a:pt x="555570" y="465957"/>
                </a:cubicBezTo>
                <a:cubicBezTo>
                  <a:pt x="547554" y="374062"/>
                  <a:pt x="496786" y="206026"/>
                  <a:pt x="531522" y="190273"/>
                </a:cubicBezTo>
                <a:cubicBezTo>
                  <a:pt x="764877" y="64246"/>
                  <a:pt x="803177" y="250661"/>
                  <a:pt x="924308" y="355683"/>
                </a:cubicBezTo>
                <a:cubicBezTo>
                  <a:pt x="1130053" y="143013"/>
                  <a:pt x="1554903" y="11735"/>
                  <a:pt x="1808744" y="123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99781" y="4038339"/>
            <a:ext cx="4428492" cy="6463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ереработка продукции растениеводства и животноводств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37">
            <a:extLst>
              <a:ext uri="{FF2B5EF4-FFF2-40B4-BE49-F238E27FC236}">
                <a16:creationId xmlns="" xmlns:a16="http://schemas.microsoft.com/office/drawing/2014/main" id="{637CCC31-1620-4873-9676-BE550EEFF867}"/>
              </a:ext>
            </a:extLst>
          </p:cNvPr>
          <p:cNvSpPr/>
          <p:nvPr/>
        </p:nvSpPr>
        <p:spPr>
          <a:xfrm>
            <a:off x="571418" y="4911831"/>
            <a:ext cx="705562" cy="705562"/>
          </a:xfrm>
          <a:prstGeom prst="ellipse">
            <a:avLst/>
          </a:prstGeom>
          <a:solidFill>
            <a:srgbClr val="176C29"/>
          </a:solidFill>
          <a:ln w="3175">
            <a:solidFill>
              <a:srgbClr val="E5EA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213140" y="2257185"/>
            <a:ext cx="3760263" cy="95410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имая продукция должна соответствовать перечню, утвержденному 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распоряжением Правительства РФ 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№ 79-р от 25.01.2017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13140" y="3951057"/>
            <a:ext cx="3760263" cy="95410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 b="1">
                <a:latin typeface="+mn-lt"/>
              </a:defRPr>
            </a:lvl1pPr>
          </a:lstStyle>
          <a:p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Перерабатываемая продукция должна соответствовать перечню, утвержденному </a:t>
            </a:r>
          </a:p>
          <a:p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распоряжением Правительства РФ </a:t>
            </a:r>
          </a:p>
          <a:p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1856-р </a:t>
            </a:r>
            <a:r>
              <a:rPr lang="ru-RU" b="0" dirty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b="0" dirty="0" smtClean="0">
                <a:latin typeface="Arial" panose="020B0604020202020204" pitchFamily="34" charset="0"/>
                <a:cs typeface="Arial" panose="020B0604020202020204" pitchFamily="34" charset="0"/>
              </a:rPr>
              <a:t>21.08.2019</a:t>
            </a:r>
            <a:endParaRPr lang="ru-RU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авая фигурная скобка 27"/>
          <p:cNvSpPr/>
          <p:nvPr/>
        </p:nvSpPr>
        <p:spPr>
          <a:xfrm>
            <a:off x="5845291" y="1824407"/>
            <a:ext cx="396044" cy="3590453"/>
          </a:xfrm>
          <a:prstGeom prst="rightBrace">
            <a:avLst>
              <a:gd name="adj1" fmla="val 51089"/>
              <a:gd name="adj2" fmla="val 50322"/>
            </a:avLst>
          </a:prstGeom>
          <a:ln>
            <a:solidFill>
              <a:schemeClr val="accent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44488" y="5955667"/>
            <a:ext cx="9436866" cy="461665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Предоставление льготного краткосрочного и</a:t>
            </a:r>
            <a:r>
              <a:rPr lang="ru-RU" sz="1200" b="1" dirty="0" smtClean="0"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льготного инвестиционного кредитования осуществляется на цели в соответствии с перечнями, утвержденными приказами Минсельхоза России от 09.07.2019 № 388 и от 09.07.2019 № 389 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7C9E7104-CB69-49C1-9820-5E751FFEB3FB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52" y="5027136"/>
            <a:ext cx="464093" cy="452548"/>
          </a:xfrm>
          <a:prstGeom prst="rect">
            <a:avLst/>
          </a:prstGeom>
          <a:effectLst/>
        </p:spPr>
      </p:pic>
      <p:sp>
        <p:nvSpPr>
          <p:cNvPr id="29" name="Oval 37">
            <a:extLst>
              <a:ext uri="{FF2B5EF4-FFF2-40B4-BE49-F238E27FC236}">
                <a16:creationId xmlns="" xmlns:a16="http://schemas.microsoft.com/office/drawing/2014/main" id="{637CCC31-1620-4873-9676-BE550EEFF867}"/>
              </a:ext>
            </a:extLst>
          </p:cNvPr>
          <p:cNvSpPr/>
          <p:nvPr/>
        </p:nvSpPr>
        <p:spPr>
          <a:xfrm>
            <a:off x="560512" y="4041914"/>
            <a:ext cx="705562" cy="705562"/>
          </a:xfrm>
          <a:prstGeom prst="ellipse">
            <a:avLst/>
          </a:prstGeom>
          <a:solidFill>
            <a:srgbClr val="176C29"/>
          </a:solidFill>
          <a:ln w="3175">
            <a:solidFill>
              <a:srgbClr val="E5EA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uLnTx/>
              <a:uFillTx/>
              <a:latin typeface="Arial" panose="020B0604020202020204" pitchFamily="34" charset="0"/>
              <a:cs typeface="Arial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904" y="4131429"/>
            <a:ext cx="430778" cy="445897"/>
          </a:xfrm>
          <a:prstGeom prst="rect">
            <a:avLst/>
          </a:prstGeom>
          <a:effectLst/>
        </p:spPr>
      </p:pic>
      <p:sp>
        <p:nvSpPr>
          <p:cNvPr id="31" name="TextBox 30"/>
          <p:cNvSpPr txBox="1"/>
          <p:nvPr/>
        </p:nvSpPr>
        <p:spPr>
          <a:xfrm>
            <a:off x="1604484" y="5014917"/>
            <a:ext cx="4428492" cy="6463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ализация сельскохозяйственно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дукции</a:t>
            </a: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="" xmlns:a16="http://schemas.microsoft.com/office/drawing/2014/main" id="{6C4529CC-F154-4851-B3DB-A851C4EC09A9}"/>
              </a:ext>
            </a:extLst>
          </p:cNvPr>
          <p:cNvCxnSpPr>
            <a:cxnSpLocks/>
          </p:cNvCxnSpPr>
          <p:nvPr/>
        </p:nvCxnSpPr>
        <p:spPr>
          <a:xfrm>
            <a:off x="582326" y="5913276"/>
            <a:ext cx="8571296" cy="0"/>
          </a:xfrm>
          <a:prstGeom prst="line">
            <a:avLst/>
          </a:prstGeom>
          <a:ln w="19050">
            <a:solidFill>
              <a:srgbClr val="E5E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1046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7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509301"/>
            <a:ext cx="5940659" cy="633943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ОСНОВНЫЕ </a:t>
            </a: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КРИТЕРИИ ОТБОРА МИНСЕЛЬХОЗОМ РОССИИ ДЛЯ ЗАКЛЮЧЕНИЯ СПК</a:t>
            </a:r>
            <a:endParaRPr lang="ru-RU" sz="1400" dirty="0">
              <a:solidFill>
                <a:srgbClr val="0066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="" xmlns:a16="http://schemas.microsoft.com/office/drawing/2014/main" id="{BCFB733B-A825-3C42-8800-C072CB5F099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60980" y="5118579"/>
          <a:ext cx="8470901" cy="1343152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125595">
                  <a:extLst>
                    <a:ext uri="{9D8B030D-6E8A-4147-A177-3AD203B41FA5}">
                      <a16:colId xmlns="" xmlns:a16="http://schemas.microsoft.com/office/drawing/2014/main" val="58178316"/>
                    </a:ext>
                  </a:extLst>
                </a:gridCol>
                <a:gridCol w="823986">
                  <a:extLst>
                    <a:ext uri="{9D8B030D-6E8A-4147-A177-3AD203B41FA5}">
                      <a16:colId xmlns="" xmlns:a16="http://schemas.microsoft.com/office/drawing/2014/main" val="2531423132"/>
                    </a:ext>
                  </a:extLst>
                </a:gridCol>
                <a:gridCol w="904264">
                  <a:extLst>
                    <a:ext uri="{9D8B030D-6E8A-4147-A177-3AD203B41FA5}">
                      <a16:colId xmlns="" xmlns:a16="http://schemas.microsoft.com/office/drawing/2014/main" val="607101466"/>
                    </a:ext>
                  </a:extLst>
                </a:gridCol>
                <a:gridCol w="904264">
                  <a:extLst>
                    <a:ext uri="{9D8B030D-6E8A-4147-A177-3AD203B41FA5}">
                      <a16:colId xmlns="" xmlns:a16="http://schemas.microsoft.com/office/drawing/2014/main" val="565906823"/>
                    </a:ext>
                  </a:extLst>
                </a:gridCol>
                <a:gridCol w="904264">
                  <a:extLst>
                    <a:ext uri="{9D8B030D-6E8A-4147-A177-3AD203B41FA5}">
                      <a16:colId xmlns="" xmlns:a16="http://schemas.microsoft.com/office/drawing/2014/main" val="1563247608"/>
                    </a:ext>
                  </a:extLst>
                </a:gridCol>
                <a:gridCol w="904264">
                  <a:extLst>
                    <a:ext uri="{9D8B030D-6E8A-4147-A177-3AD203B41FA5}">
                      <a16:colId xmlns="" xmlns:a16="http://schemas.microsoft.com/office/drawing/2014/main" val="1743640248"/>
                    </a:ext>
                  </a:extLst>
                </a:gridCol>
                <a:gridCol w="904264">
                  <a:extLst>
                    <a:ext uri="{9D8B030D-6E8A-4147-A177-3AD203B41FA5}">
                      <a16:colId xmlns="" xmlns:a16="http://schemas.microsoft.com/office/drawing/2014/main" val="2222862253"/>
                    </a:ext>
                  </a:extLst>
                </a:gridCol>
              </a:tblGrid>
              <a:tr h="21890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Наименова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9A26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чения коэффициента эффективности </a:t>
                      </a:r>
                      <a:r>
                        <a:rPr lang="en-US" sz="12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200" b="1" baseline="-250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79A2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53244638"/>
                  </a:ext>
                </a:extLst>
              </a:tr>
              <a:tr h="2189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год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год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год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год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год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год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5350502"/>
                  </a:ext>
                </a:extLst>
              </a:tr>
              <a:tr h="45267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дукции АПК, за исключением продукции глубокой переработки зерн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5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5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5</a:t>
                      </a:r>
                      <a:endParaRPr lang="ru-RU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5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5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028218096"/>
                  </a:ext>
                </a:extLst>
              </a:tr>
              <a:tr h="45267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дукции глубокой переработки зерн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5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5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5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776792336"/>
                  </a:ext>
                </a:extLst>
              </a:tr>
            </a:tbl>
          </a:graphicData>
        </a:graphic>
      </p:graphicFrame>
      <p:sp>
        <p:nvSpPr>
          <p:cNvPr id="12" name="Rectangle 1">
            <a:extLst>
              <a:ext uri="{FF2B5EF4-FFF2-40B4-BE49-F238E27FC236}">
                <a16:creationId xmlns="" xmlns:a16="http://schemas.microsoft.com/office/drawing/2014/main" id="{5D118F6B-A57C-5749-8F7A-64C584DF4B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5282" y="3028351"/>
            <a:ext cx="9490286" cy="203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400" dirty="0" smtClean="0">
                <a:cs typeface="Arial" panose="020B0604020202020204" pitchFamily="34" charset="0"/>
              </a:rPr>
              <a:t>Планируемый </a:t>
            </a:r>
            <a:r>
              <a:rPr lang="ru-RU" altLang="ru-RU" sz="1400" dirty="0">
                <a:cs typeface="Arial" panose="020B0604020202020204" pitchFamily="34" charset="0"/>
              </a:rPr>
              <a:t>объем продукции АПК </a:t>
            </a:r>
            <a:r>
              <a:rPr lang="ru-RU" altLang="ru-RU" sz="1400" dirty="0"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ru-RU" altLang="ru-RU" sz="1400" dirty="0">
                <a:solidFill>
                  <a:srgbClr val="479A26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в рублях</a:t>
            </a:r>
            <a:r>
              <a:rPr lang="ru-RU" altLang="ru-RU" sz="1400" dirty="0"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ru-RU" altLang="ru-RU" sz="1400" dirty="0">
                <a:cs typeface="Arial" panose="020B0604020202020204" pitchFamily="34" charset="0"/>
              </a:rPr>
              <a:t>транспортировка которой осуществляется до конечных пунктов назначения (</a:t>
            </a:r>
            <a:r>
              <a:rPr lang="en-US" altLang="ru-RU" sz="1400" dirty="0">
                <a:cs typeface="Arial" panose="020B0604020202020204" pitchFamily="34" charset="0"/>
              </a:rPr>
              <a:t>Vi), </a:t>
            </a:r>
            <a:r>
              <a:rPr lang="en-US" altLang="ru-RU" sz="1400" dirty="0" err="1">
                <a:cs typeface="Arial" panose="020B0604020202020204" pitchFamily="34" charset="0"/>
              </a:rPr>
              <a:t>рассчитывается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по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формуле</a:t>
            </a:r>
            <a:r>
              <a:rPr lang="en-US" altLang="ru-RU" sz="1400" dirty="0">
                <a:cs typeface="Arial" panose="020B0604020202020204" pitchFamily="34" charset="0"/>
              </a:rPr>
              <a:t> и </a:t>
            </a:r>
            <a:r>
              <a:rPr lang="en-US" altLang="ru-RU" sz="1400" dirty="0" err="1">
                <a:cs typeface="Arial" panose="020B0604020202020204" pitchFamily="34" charset="0"/>
              </a:rPr>
              <a:t>составляет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не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менее</a:t>
            </a:r>
            <a:r>
              <a:rPr lang="en-US" altLang="ru-RU" sz="1400" dirty="0">
                <a:cs typeface="Arial" panose="020B0604020202020204" pitchFamily="34" charset="0"/>
              </a:rPr>
              <a:t>:</a:t>
            </a:r>
            <a:endParaRPr lang="ru-RU" altLang="ru-RU" sz="1400" dirty="0">
              <a:cs typeface="Arial" panose="020B0604020202020204" pitchFamily="34" charset="0"/>
            </a:endParaRPr>
          </a:p>
          <a:p>
            <a:pPr indent="450850"/>
            <a:endParaRPr lang="en-US" altLang="ru-RU" sz="1400" dirty="0">
              <a:cs typeface="Arial" panose="020B0604020202020204" pitchFamily="34" charset="0"/>
            </a:endParaRPr>
          </a:p>
          <a:p>
            <a:pPr indent="450850"/>
            <a:r>
              <a:rPr lang="en-US" altLang="ru-RU" sz="1400" dirty="0" err="1">
                <a:cs typeface="Arial" panose="020B0604020202020204" pitchFamily="34" charset="0"/>
              </a:rPr>
              <a:t>где</a:t>
            </a:r>
            <a:r>
              <a:rPr lang="ru-RU" altLang="ru-RU" sz="1400" dirty="0" smtClean="0">
                <a:cs typeface="Arial" panose="020B0604020202020204" pitchFamily="34" charset="0"/>
              </a:rPr>
              <a:t>:</a:t>
            </a:r>
            <a:endParaRPr lang="en-US" altLang="ru-RU" sz="1000" dirty="0">
              <a:cs typeface="Arial" panose="020B0604020202020204" pitchFamily="34" charset="0"/>
            </a:endParaRPr>
          </a:p>
          <a:p>
            <a:r>
              <a:rPr lang="en-US" altLang="ru-RU" sz="1400" b="1" dirty="0" err="1">
                <a:ea typeface="Calibri" panose="020F0502020204030204" pitchFamily="34" charset="0"/>
                <a:cs typeface="Arial" panose="020B0604020202020204" pitchFamily="34" charset="0"/>
              </a:rPr>
              <a:t>V</a:t>
            </a:r>
            <a:r>
              <a:rPr lang="en-US" altLang="ru-RU" sz="1400" b="1" baseline="-30000" dirty="0" err="1">
                <a:ea typeface="Calibri" panose="020F0502020204030204" pitchFamily="34" charset="0"/>
                <a:cs typeface="Arial" panose="020B0604020202020204" pitchFamily="34" charset="0"/>
              </a:rPr>
              <a:t>b</a:t>
            </a:r>
            <a:r>
              <a:rPr lang="en-US" altLang="ru-RU" sz="1400" b="1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</a:t>
            </a:r>
            <a:r>
              <a:rPr lang="en-US" altLang="ru-RU" sz="1400" dirty="0" err="1">
                <a:cs typeface="Arial" panose="020B0604020202020204" pitchFamily="34" charset="0"/>
              </a:rPr>
              <a:t>объем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продукции</a:t>
            </a:r>
            <a:r>
              <a:rPr lang="en-US" altLang="ru-RU" sz="1400" dirty="0">
                <a:cs typeface="Arial" panose="020B0604020202020204" pitchFamily="34" charset="0"/>
              </a:rPr>
              <a:t> АПК (</a:t>
            </a:r>
            <a:r>
              <a:rPr lang="en-US" altLang="ru-RU" sz="1400" dirty="0">
                <a:solidFill>
                  <a:srgbClr val="479A26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в </a:t>
            </a:r>
            <a:r>
              <a:rPr lang="en-US" altLang="ru-RU" sz="1400" dirty="0" err="1">
                <a:solidFill>
                  <a:srgbClr val="479A26"/>
                </a:solidFill>
                <a:ea typeface="Calibri" panose="020F0502020204030204" pitchFamily="34" charset="0"/>
                <a:cs typeface="Arial" panose="020B0604020202020204" pitchFamily="34" charset="0"/>
              </a:rPr>
              <a:t>рублях</a:t>
            </a:r>
            <a:r>
              <a:rPr lang="en-US" altLang="ru-RU" sz="1400" dirty="0">
                <a:cs typeface="Arial" panose="020B0604020202020204" pitchFamily="34" charset="0"/>
              </a:rPr>
              <a:t>), </a:t>
            </a:r>
            <a:r>
              <a:rPr lang="en-US" altLang="ru-RU" sz="1400" dirty="0" err="1">
                <a:cs typeface="Arial" panose="020B0604020202020204" pitchFamily="34" charset="0"/>
              </a:rPr>
              <a:t>транспортировка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которой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осуществлялась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до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конечных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пунктов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назначения</a:t>
            </a:r>
            <a:r>
              <a:rPr lang="en-US" altLang="ru-RU" sz="1400" dirty="0">
                <a:cs typeface="Arial" panose="020B0604020202020204" pitchFamily="34" charset="0"/>
              </a:rPr>
              <a:t> в </a:t>
            </a:r>
            <a:r>
              <a:rPr lang="en-US" altLang="ru-RU" sz="1400" dirty="0" err="1">
                <a:cs typeface="Arial" panose="020B0604020202020204" pitchFamily="34" charset="0"/>
              </a:rPr>
              <a:t>год</a:t>
            </a:r>
            <a:r>
              <a:rPr lang="en-US" altLang="ru-RU" sz="1400" dirty="0">
                <a:cs typeface="Arial" panose="020B0604020202020204" pitchFamily="34" charset="0"/>
              </a:rPr>
              <a:t>, </a:t>
            </a:r>
            <a:r>
              <a:rPr lang="en-US" altLang="ru-RU" sz="1400" dirty="0" err="1">
                <a:cs typeface="Arial" panose="020B0604020202020204" pitchFamily="34" charset="0"/>
              </a:rPr>
              <a:t>предшествующий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году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заключению</a:t>
            </a:r>
            <a:r>
              <a:rPr lang="en-US" altLang="ru-RU" sz="1400" dirty="0">
                <a:cs typeface="Arial" panose="020B0604020202020204" pitchFamily="34" charset="0"/>
              </a:rPr>
              <a:t> СПК</a:t>
            </a:r>
            <a:endParaRPr lang="ru-RU" altLang="ru-RU" sz="1400" dirty="0">
              <a:cs typeface="Arial" panose="020B0604020202020204" pitchFamily="34" charset="0"/>
            </a:endParaRPr>
          </a:p>
          <a:p>
            <a:r>
              <a:rPr lang="en-US" altLang="ru-RU" sz="1400" b="1" dirty="0" smtClean="0">
                <a:ea typeface="Calibri" panose="020F0502020204030204" pitchFamily="34" charset="0"/>
                <a:cs typeface="Arial" panose="020B0604020202020204" pitchFamily="34" charset="0"/>
              </a:rPr>
              <a:t>S </a:t>
            </a:r>
            <a:r>
              <a:rPr lang="en-US" alt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</a:t>
            </a:r>
            <a:r>
              <a:rPr lang="en-US" altLang="ru-RU" sz="1400" dirty="0" err="1">
                <a:cs typeface="Arial" panose="020B0604020202020204" pitchFamily="34" charset="0"/>
              </a:rPr>
              <a:t>сумма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запрашиваемого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льготного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инвестиционного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кредита</a:t>
            </a:r>
            <a:r>
              <a:rPr lang="en-US" altLang="ru-RU" sz="1400" dirty="0">
                <a:cs typeface="Arial" panose="020B0604020202020204" pitchFamily="34" charset="0"/>
              </a:rPr>
              <a:t>, </a:t>
            </a:r>
            <a:r>
              <a:rPr lang="en-US" altLang="ru-RU" sz="1400" dirty="0" err="1">
                <a:cs typeface="Arial" panose="020B0604020202020204" pitchFamily="34" charset="0"/>
              </a:rPr>
              <a:t>подтвержденного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уполномоченным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банком</a:t>
            </a:r>
            <a:endParaRPr lang="ru-RU" altLang="ru-RU" sz="1400" dirty="0">
              <a:cs typeface="Arial" panose="020B0604020202020204" pitchFamily="34" charset="0"/>
            </a:endParaRPr>
          </a:p>
          <a:p>
            <a:r>
              <a:rPr lang="en-US" altLang="ru-RU" sz="1400" b="1" dirty="0" err="1" smtClean="0">
                <a:ea typeface="Calibri" panose="020F0502020204030204" pitchFamily="34" charset="0"/>
                <a:cs typeface="Arial" panose="020B0604020202020204" pitchFamily="34" charset="0"/>
              </a:rPr>
              <a:t>i</a:t>
            </a:r>
            <a:r>
              <a:rPr lang="en-US" altLang="ru-RU" sz="1400" dirty="0" smtClean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</a:t>
            </a:r>
            <a:r>
              <a:rPr lang="en-US" altLang="ru-RU" sz="1400" dirty="0" err="1">
                <a:cs typeface="Arial" panose="020B0604020202020204" pitchFamily="34" charset="0"/>
              </a:rPr>
              <a:t>порядковый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номер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года</a:t>
            </a:r>
            <a:r>
              <a:rPr lang="en-US" altLang="ru-RU" sz="1400" dirty="0">
                <a:cs typeface="Arial" panose="020B0604020202020204" pitchFamily="34" charset="0"/>
              </a:rPr>
              <a:t>, </a:t>
            </a:r>
            <a:r>
              <a:rPr lang="en-US" altLang="ru-RU" sz="1400" dirty="0" err="1">
                <a:cs typeface="Arial" panose="020B0604020202020204" pitchFamily="34" charset="0"/>
              </a:rPr>
              <a:t>следующий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за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годом</a:t>
            </a:r>
            <a:r>
              <a:rPr lang="en-US" altLang="ru-RU" sz="1400" dirty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заключения</a:t>
            </a:r>
            <a:r>
              <a:rPr lang="en-US" altLang="ru-RU" sz="1400" dirty="0">
                <a:cs typeface="Arial" panose="020B0604020202020204" pitchFamily="34" charset="0"/>
              </a:rPr>
              <a:t> СПК</a:t>
            </a:r>
            <a:endParaRPr lang="ru-RU" altLang="ru-RU" sz="1400" dirty="0">
              <a:cs typeface="Arial" panose="020B0604020202020204" pitchFamily="34" charset="0"/>
            </a:endParaRPr>
          </a:p>
          <a:p>
            <a:r>
              <a:rPr lang="en-US" altLang="ru-RU" sz="1400" b="1" dirty="0" err="1" smtClean="0">
                <a:ea typeface="Calibri" panose="020F0502020204030204" pitchFamily="34" charset="0"/>
                <a:cs typeface="Arial" panose="020B0604020202020204" pitchFamily="34" charset="0"/>
              </a:rPr>
              <a:t>k</a:t>
            </a:r>
            <a:r>
              <a:rPr lang="en-US" altLang="ru-RU" sz="1400" b="1" baseline="-30000" dirty="0" err="1" smtClean="0">
                <a:ea typeface="Calibri" panose="020F0502020204030204" pitchFamily="34" charset="0"/>
                <a:cs typeface="Arial" panose="020B0604020202020204" pitchFamily="34" charset="0"/>
              </a:rPr>
              <a:t>i</a:t>
            </a:r>
            <a:r>
              <a:rPr lang="en-US" altLang="ru-RU" sz="1400" dirty="0" smtClean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altLang="ru-RU" sz="1400" dirty="0">
                <a:ea typeface="Calibri" panose="020F0502020204030204" pitchFamily="34" charset="0"/>
                <a:cs typeface="Arial" panose="020B0604020202020204" pitchFamily="34" charset="0"/>
              </a:rPr>
              <a:t>– </a:t>
            </a:r>
            <a:r>
              <a:rPr lang="en-US" altLang="ru-RU" sz="1400" dirty="0" err="1" smtClean="0">
                <a:cs typeface="Arial" panose="020B0604020202020204" pitchFamily="34" charset="0"/>
              </a:rPr>
              <a:t>коэффициент</a:t>
            </a:r>
            <a:r>
              <a:rPr lang="en-US" altLang="ru-RU" sz="1400" dirty="0" smtClean="0">
                <a:cs typeface="Arial" panose="020B0604020202020204" pitchFamily="34" charset="0"/>
              </a:rPr>
              <a:t> </a:t>
            </a:r>
            <a:r>
              <a:rPr lang="en-US" altLang="ru-RU" sz="1400" dirty="0" err="1">
                <a:cs typeface="Arial" panose="020B0604020202020204" pitchFamily="34" charset="0"/>
              </a:rPr>
              <a:t>эффективности</a:t>
            </a:r>
            <a:endParaRPr lang="en-US" altLang="ru-RU" sz="1400" dirty="0"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9B7DD88E-F70C-7346-8AA5-615550C28AE2}"/>
              </a:ext>
            </a:extLst>
          </p:cNvPr>
          <p:cNvSpPr txBox="1"/>
          <p:nvPr/>
        </p:nvSpPr>
        <p:spPr>
          <a:xfrm>
            <a:off x="1649746" y="1476352"/>
            <a:ext cx="14221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 = V * 0,25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DC34A31-686E-524E-9542-A00C86AC3ED5}"/>
              </a:ext>
            </a:extLst>
          </p:cNvPr>
          <p:cNvSpPr txBox="1"/>
          <p:nvPr/>
        </p:nvSpPr>
        <p:spPr>
          <a:xfrm>
            <a:off x="596516" y="2761839"/>
            <a:ext cx="28056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479A26"/>
                </a:solidFill>
                <a:latin typeface="Raleway Medium" panose="020B0603030101060003" pitchFamily="34" charset="-52"/>
              </a:rPr>
              <a:t>2</a:t>
            </a:r>
            <a:r>
              <a:rPr lang="ru-RU" dirty="0">
                <a:latin typeface="Raleway Medium" panose="020B0603030101060003" pitchFamily="34" charset="-52"/>
              </a:rPr>
              <a:t> </a:t>
            </a:r>
            <a:r>
              <a:rPr lang="ru-RU" sz="1400" b="1" dirty="0" smtClean="0"/>
              <a:t>Инвестиционные кредиты</a:t>
            </a:r>
            <a:r>
              <a:rPr lang="ru-RU" sz="1400" b="1" dirty="0" smtClean="0">
                <a:ea typeface="Cambria" panose="02040503050406030204" pitchFamily="18" charset="0"/>
                <a:cs typeface="Calibri" panose="020F0502020204030204" pitchFamily="34" charset="0"/>
              </a:rPr>
              <a:t>:</a:t>
            </a:r>
            <a:endParaRPr lang="ru-RU" sz="1400" b="1" dirty="0"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D64F8243-16CC-4FE2-AABB-F81C3158B228}"/>
              </a:ext>
            </a:extLst>
          </p:cNvPr>
          <p:cNvSpPr/>
          <p:nvPr/>
        </p:nvSpPr>
        <p:spPr>
          <a:xfrm>
            <a:off x="1226415" y="3429000"/>
            <a:ext cx="202234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450850" eaLnBrk="0" fontAlgn="base" hangingPunct="0">
              <a:spcBef>
                <a:spcPct val="0"/>
              </a:spcBef>
              <a:spcAft>
                <a:spcPct val="0"/>
              </a:spcAft>
              <a:tabLst>
                <a:tab pos="630238" algn="l"/>
              </a:tabLst>
            </a:pPr>
            <a:r>
              <a:rPr lang="en-US" altLang="ru-RU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</a:t>
            </a:r>
            <a:r>
              <a:rPr lang="en-US" altLang="ru-RU" b="1" baseline="-30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</a:t>
            </a:r>
            <a:r>
              <a:rPr lang="en-US" altLang="ru-RU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= </a:t>
            </a:r>
            <a:r>
              <a:rPr lang="en-US" altLang="ru-RU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</a:t>
            </a:r>
            <a:r>
              <a:rPr lang="en-US" altLang="ru-RU" b="1" baseline="-30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</a:t>
            </a:r>
            <a:r>
              <a:rPr lang="en-US" altLang="ru-RU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+ </a:t>
            </a:r>
            <a:r>
              <a:rPr lang="en-US" altLang="ru-RU" b="1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</a:t>
            </a:r>
            <a:r>
              <a:rPr lang="en-US" altLang="ru-RU" b="1" baseline="-300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</a:t>
            </a:r>
            <a:r>
              <a:rPr lang="en-US" altLang="ru-RU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S</a:t>
            </a:r>
            <a:endParaRPr lang="ru-RU" altLang="ru-RU" sz="2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151508" y="1463874"/>
            <a:ext cx="74147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       и 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жегодно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ирост = </a:t>
            </a:r>
            <a:r>
              <a:rPr lang="en-US" alt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en-US" altLang="ru-RU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+ 3%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(при отборе в 2019-2021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гг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59657" y="1135590"/>
            <a:ext cx="28091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479A26"/>
                </a:solidFill>
                <a:latin typeface="Raleway Medium" panose="020B0603030101060003" pitchFamily="34" charset="-52"/>
              </a:rPr>
              <a:t>1</a:t>
            </a:r>
            <a:r>
              <a:rPr lang="ru-RU" dirty="0">
                <a:latin typeface="Raleway Medium" panose="020B0603030101060003" pitchFamily="34" charset="-52"/>
              </a:rPr>
              <a:t> </a:t>
            </a:r>
            <a:r>
              <a:rPr lang="ru-RU" sz="1400" b="1" dirty="0" smtClean="0"/>
              <a:t>Краткосрочные кредиты:</a:t>
            </a:r>
            <a:r>
              <a:rPr lang="ru-RU" b="1" dirty="0" smtClean="0">
                <a:latin typeface="Raleway Medium" panose="020B0603030101060003" pitchFamily="34" charset="-52"/>
              </a:rPr>
              <a:t> </a:t>
            </a:r>
            <a:endParaRPr lang="ru-RU" b="1" dirty="0">
              <a:latin typeface="Raleway Medium" panose="020B0603030101060003" pitchFamily="34" charset="-5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8484" y="2004131"/>
            <a:ext cx="9325891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7338" lvl="1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.2. Планируемый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ъем продукции (в рублях), транспортировка которой осуществляется через транспортно-логистические узлы, не менее чем в 4 раза (в годовом исчислении) превышает размер запрашиваемого льготного краткосрочного кредита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9B7DD88E-F70C-7346-8AA5-615550C28AE2}"/>
              </a:ext>
            </a:extLst>
          </p:cNvPr>
          <p:cNvSpPr txBox="1"/>
          <p:nvPr/>
        </p:nvSpPr>
        <p:spPr>
          <a:xfrm>
            <a:off x="632520" y="1501043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.1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926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516230"/>
            <a:ext cx="5378171" cy="734308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СРАВНЕНИЕ МЕХАНИЗМОВ ЛЬГОТНОГО КРЕДТИТОВАНИЯ 512 С 1528</a:t>
            </a:r>
            <a:endParaRPr lang="ru-RU" sz="1400" dirty="0">
              <a:solidFill>
                <a:srgbClr val="0066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396716" y="1367604"/>
            <a:ext cx="7225833" cy="201593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173038" lvl="0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dirty="0" smtClean="0"/>
              <a:t>Расширенный </a:t>
            </a:r>
            <a:r>
              <a:rPr lang="ru-RU" sz="1050" dirty="0"/>
              <a:t>перечень целевого использования льготных краткосрочных кредитов позволяет удовлетворять потребности предприятий-переработчиков в финансировании затрат на приобретение сырья (приобретение сахара, муки, сухого молока, сахарной свеклы, масличных культур, сельскохозяйственных животных для убоя и др.) для последующей переработки</a:t>
            </a:r>
          </a:p>
          <a:p>
            <a:pPr marL="173038" lvl="0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dirty="0" smtClean="0"/>
              <a:t>Расширенный </a:t>
            </a:r>
            <a:r>
              <a:rPr lang="ru-RU" sz="1050" dirty="0"/>
              <a:t>перечень целевого использования льготных инвестиционных кредитов - возможность финансирования затрат по строительству, реконструкции, модернизации предприятий </a:t>
            </a:r>
            <a:r>
              <a:rPr lang="ru-RU" sz="1050" dirty="0" err="1"/>
              <a:t>пищеконцентратной</a:t>
            </a:r>
            <a:r>
              <a:rPr lang="ru-RU" sz="1050" dirty="0"/>
              <a:t> отрасли, мощностей по производству ферментных препаратов, переработке и хранению рыбы и морепродуктов и др.)</a:t>
            </a:r>
          </a:p>
          <a:p>
            <a:pPr marL="173038" lvl="0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dirty="0" smtClean="0"/>
              <a:t>Отсутствие </a:t>
            </a:r>
            <a:r>
              <a:rPr lang="ru-RU" sz="1050" dirty="0"/>
              <a:t>ограничений лимита краткосрочного кредитования на заемщика в разрезе регионов, что обеспечит удовлетворение всей потребности заемщика в сумме льготного краткосрочного </a:t>
            </a:r>
            <a:r>
              <a:rPr lang="ru-RU" sz="1050" dirty="0" smtClean="0"/>
              <a:t>кредита</a:t>
            </a:r>
            <a:r>
              <a:rPr lang="ru-RU" sz="1050" dirty="0"/>
              <a:t> 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15342" y="1163826"/>
            <a:ext cx="2136576" cy="2224494"/>
          </a:xfrm>
          <a:prstGeom prst="rect">
            <a:avLst/>
          </a:prstGeom>
          <a:solidFill>
            <a:srgbClr val="F3F8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60140" y="3826182"/>
            <a:ext cx="2094402" cy="2224494"/>
          </a:xfrm>
          <a:prstGeom prst="rect">
            <a:avLst/>
          </a:prstGeom>
          <a:solidFill>
            <a:srgbClr val="F3F8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ЛИЧИЯ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396716" y="4103021"/>
            <a:ext cx="7225833" cy="152349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173038" lvl="0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dirty="0" smtClean="0"/>
              <a:t>Новый алгоритм расчета субсидии в течении срока действия аккредитива</a:t>
            </a:r>
          </a:p>
          <a:p>
            <a:pPr marL="173038" lvl="0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dirty="0" smtClean="0"/>
              <a:t>Требование к заемщику по наличию заключенного СПК и выполнению его условий</a:t>
            </a:r>
          </a:p>
          <a:p>
            <a:pPr marL="173038" lvl="0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dirty="0" smtClean="0"/>
              <a:t>Новый функционал Банка по сбору документов от заемщиков, подтверждающих выполнение показателей СПК, и направлению в Минсельхоз России (в составе отчетности по получению субсидии) в целях контроля Минсельхозом России выполнения установленных показателей </a:t>
            </a:r>
          </a:p>
          <a:p>
            <a:pPr marL="173038" lvl="0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dirty="0" smtClean="0"/>
              <a:t>Отсутствие права Банка повышать % ставку при несоответствии заемщика требованиям Банка</a:t>
            </a:r>
          </a:p>
        </p:txBody>
      </p:sp>
    </p:spTree>
    <p:extLst>
      <p:ext uri="{BB962C8B-B14F-4D97-AF65-F5344CB8AC3E}">
        <p14:creationId xmlns:p14="http://schemas.microsoft.com/office/powerpoint/2010/main" val="3504141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8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516230"/>
            <a:ext cx="5976664" cy="734308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АКЦИЯ ДЛЯ ЭКСПОРТЕРОВ АГРОПРОМЫШЛЕННОГО КОМПЛЕКСА «АГРОЭКСПОРТ»</a:t>
            </a:r>
            <a:endParaRPr lang="ru-RU" sz="1400" dirty="0">
              <a:solidFill>
                <a:srgbClr val="0066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1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AutoShape 2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117475" y="-209708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3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155575" y="-14890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4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155575" y="-881063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AutoShape 5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155575" y="-2730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AutoShape 6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155575" y="88423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AutoShape 7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155575" y="14922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AutoShape 8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155575" y="2100263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AutoShape 10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269875" y="-194468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" name="AutoShape 11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307975" y="-1336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AutoShape 12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307975" y="-728663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AutoShape 13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307975" y="-1206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AutoShape 14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307975" y="1036638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AutoShape 16" descr="https://www.rshb.ru/smallbusiness/agroexport/images/icon_free.svg"/>
          <p:cNvSpPr>
            <a:spLocks noChangeAspect="1" noChangeArrowheads="1"/>
          </p:cNvSpPr>
          <p:nvPr/>
        </p:nvSpPr>
        <p:spPr bwMode="auto">
          <a:xfrm>
            <a:off x="307975" y="2252663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7" name="TextBox 26"/>
          <p:cNvSpPr txBox="1"/>
          <p:nvPr/>
        </p:nvSpPr>
        <p:spPr>
          <a:xfrm>
            <a:off x="884548" y="1592796"/>
            <a:ext cx="3852427" cy="310854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b="1" dirty="0" smtClean="0"/>
              <a:t>Бесплатный </a:t>
            </a:r>
            <a:r>
              <a:rPr lang="ru-RU" sz="1050" b="1" dirty="0"/>
              <a:t>счет в рублях</a:t>
            </a:r>
          </a:p>
          <a:p>
            <a:pPr marL="3176" algn="just" defTabSz="357188">
              <a:spcBef>
                <a:spcPts val="600"/>
              </a:spcBef>
              <a:spcAft>
                <a:spcPts val="600"/>
              </a:spcAft>
              <a:buSzPct val="100000"/>
            </a:pPr>
            <a:r>
              <a:rPr lang="ru-RU" sz="1050" dirty="0"/>
              <a:t>Открытие и ведение счета в рублях при использовании Интернет-банка </a:t>
            </a:r>
          </a:p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b="1" dirty="0"/>
              <a:t>Бесплатный счет в валюте</a:t>
            </a:r>
          </a:p>
          <a:p>
            <a:pPr marL="3176" algn="just" defTabSz="357188">
              <a:spcBef>
                <a:spcPts val="600"/>
              </a:spcBef>
              <a:spcAft>
                <a:spcPts val="600"/>
              </a:spcAft>
              <a:buSzPct val="100000"/>
            </a:pPr>
            <a:r>
              <a:rPr lang="ru-RU" sz="1050" dirty="0"/>
              <a:t>Открытие и ведение счета в валюте при использовании Интернет-банка </a:t>
            </a:r>
          </a:p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b="1" dirty="0"/>
              <a:t>Бесплатные переводы в рублях</a:t>
            </a:r>
          </a:p>
          <a:p>
            <a:pPr marL="3176" algn="just" defTabSz="357188">
              <a:spcBef>
                <a:spcPts val="600"/>
              </a:spcBef>
              <a:spcAft>
                <a:spcPts val="600"/>
              </a:spcAft>
              <a:buSzPct val="100000"/>
            </a:pPr>
            <a:r>
              <a:rPr lang="ru-RU" sz="1050" dirty="0"/>
              <a:t>Со счетов на счета внутри Банка и в сторонние банки через Интернет-Банк </a:t>
            </a:r>
          </a:p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b="1" dirty="0"/>
              <a:t>Бесплатные переводы в валюте</a:t>
            </a:r>
          </a:p>
          <a:p>
            <a:pPr marL="3176" algn="just" defTabSz="357188">
              <a:spcBef>
                <a:spcPts val="600"/>
              </a:spcBef>
              <a:spcAft>
                <a:spcPts val="600"/>
              </a:spcAft>
              <a:buSzPct val="100000"/>
            </a:pPr>
            <a:r>
              <a:rPr lang="ru-RU" sz="1050" dirty="0"/>
              <a:t>Со счетов в Банке на счета в сторонних банках в рамках экспортного </a:t>
            </a:r>
            <a:r>
              <a:rPr lang="ru-RU" sz="1050" dirty="0" smtClean="0"/>
              <a:t>контракта</a:t>
            </a:r>
            <a:endParaRPr lang="ru-RU" sz="1050" dirty="0"/>
          </a:p>
        </p:txBody>
      </p:sp>
      <p:sp>
        <p:nvSpPr>
          <p:cNvPr id="28" name="TextBox 27"/>
          <p:cNvSpPr txBox="1"/>
          <p:nvPr/>
        </p:nvSpPr>
        <p:spPr>
          <a:xfrm>
            <a:off x="5961112" y="1797050"/>
            <a:ext cx="3816424" cy="231601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b="1" dirty="0" smtClean="0"/>
              <a:t>Бесплатный </a:t>
            </a:r>
            <a:r>
              <a:rPr lang="ru-RU" sz="1050" b="1" dirty="0"/>
              <a:t>валютный контроль</a:t>
            </a:r>
          </a:p>
          <a:p>
            <a:pPr marL="3176" algn="just" defTabSz="357188">
              <a:spcBef>
                <a:spcPts val="600"/>
              </a:spcBef>
              <a:spcAft>
                <a:spcPts val="600"/>
              </a:spcAft>
              <a:buSzPct val="100000"/>
            </a:pPr>
            <a:r>
              <a:rPr lang="ru-RU" sz="1050" dirty="0"/>
              <a:t>По операциям резидентов, которые осуществляются с постановкой контракта на учет в Банк в рамках экспортного контракта </a:t>
            </a:r>
          </a:p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b="1" dirty="0"/>
              <a:t>Бесплатное обслуживание контракта</a:t>
            </a:r>
          </a:p>
          <a:p>
            <a:pPr marL="3176" algn="just" defTabSz="357188">
              <a:spcBef>
                <a:spcPts val="600"/>
              </a:spcBef>
              <a:spcAft>
                <a:spcPts val="600"/>
              </a:spcAft>
              <a:buSzPct val="100000"/>
            </a:pPr>
            <a:r>
              <a:rPr lang="ru-RU" sz="1050" dirty="0"/>
              <a:t>Постановка на учет или принятие на обслуживание контракта из другого уполномоченного банка  </a:t>
            </a:r>
          </a:p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50" b="1" dirty="0"/>
              <a:t>Бесплатный Интернет-банк</a:t>
            </a:r>
          </a:p>
          <a:p>
            <a:pPr marL="3176" algn="just" defTabSz="357188">
              <a:spcBef>
                <a:spcPts val="600"/>
              </a:spcBef>
              <a:spcAft>
                <a:spcPts val="600"/>
              </a:spcAft>
              <a:buSzPct val="100000"/>
            </a:pPr>
            <a:r>
              <a:rPr lang="ru-RU" sz="1050" dirty="0"/>
              <a:t>Обслуживание системы ДБО «Интернет-Клиент»   </a:t>
            </a:r>
          </a:p>
        </p:txBody>
      </p:sp>
      <p:pic>
        <p:nvPicPr>
          <p:cNvPr id="845842" name="Picture 1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610" y="1538288"/>
            <a:ext cx="4953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610" y="2393084"/>
            <a:ext cx="4953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1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3284984"/>
            <a:ext cx="4953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105" y="4113069"/>
            <a:ext cx="4953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1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5048" y="1697066"/>
            <a:ext cx="4953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722" y="2672248"/>
            <a:ext cx="4953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1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5668" y="3551094"/>
            <a:ext cx="4953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28"/>
          <p:cNvSpPr/>
          <p:nvPr/>
        </p:nvSpPr>
        <p:spPr>
          <a:xfrm>
            <a:off x="282039" y="5319792"/>
            <a:ext cx="942791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Условия акции распространяются на новых и действующих клиентов, которые поставили на учет и обслуживание в Банк: </a:t>
            </a:r>
          </a:p>
          <a:p>
            <a:pPr lvl="0"/>
            <a:r>
              <a:rPr lang="ru-RU" sz="1050" dirty="0"/>
              <a:t>Новый экспортный </a:t>
            </a:r>
            <a:r>
              <a:rPr lang="ru-RU" sz="1050" dirty="0" smtClean="0"/>
              <a:t>контракт (ТН 01-24)</a:t>
            </a:r>
            <a:endParaRPr lang="ru-RU" sz="1050" dirty="0"/>
          </a:p>
          <a:p>
            <a:r>
              <a:rPr lang="ru-RU" sz="1050" dirty="0"/>
              <a:t>Действующий экспортный контракт из другого уполномоченного </a:t>
            </a:r>
            <a:r>
              <a:rPr lang="ru-RU" sz="1050" dirty="0" smtClean="0"/>
              <a:t>банка </a:t>
            </a:r>
            <a:r>
              <a:rPr lang="ru-RU" sz="1050" dirty="0"/>
              <a:t>(ТН 01-24</a:t>
            </a:r>
            <a:r>
              <a:rPr lang="ru-RU" sz="1050" dirty="0" smtClean="0"/>
              <a:t>)</a:t>
            </a:r>
            <a:endParaRPr lang="ru-RU" sz="1050" dirty="0"/>
          </a:p>
          <a:p>
            <a:r>
              <a:rPr lang="ru-RU" sz="1050" b="1" dirty="0"/>
              <a:t>Срок действия акции: 8 июля 2019 – 31 января 2020 </a:t>
            </a:r>
          </a:p>
        </p:txBody>
      </p:sp>
    </p:spTree>
    <p:extLst>
      <p:ext uri="{BB962C8B-B14F-4D97-AF65-F5344CB8AC3E}">
        <p14:creationId xmlns:p14="http://schemas.microsoft.com/office/powerpoint/2010/main" val="586215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96515" y="1304764"/>
            <a:ext cx="9034039" cy="1077218"/>
          </a:xfrm>
          <a:prstGeom prst="rect">
            <a:avLst/>
          </a:prstGeom>
          <a:solidFill>
            <a:schemeClr val="accent5">
              <a:alpha val="50000"/>
            </a:schemeClr>
          </a:solidFill>
          <a:effectLst/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В рамках реализации Федерального </a:t>
            </a:r>
            <a:r>
              <a:rPr lang="ru-RU" sz="1600" b="1" dirty="0" smtClean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проекта «Экспорт </a:t>
            </a:r>
            <a:r>
              <a:rPr lang="ru-RU" sz="16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продукции АПК» постановлением Правительства Российской Федерации от 26.04.2019 №512 утвержден новый механизм государственной поддержки – механизм льготного кредитования экспортно-ориентированных предприятий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13FC45C6-9AFE-43AD-82E6-EEE113F4FE87}"/>
              </a:ext>
            </a:extLst>
          </p:cNvPr>
          <p:cNvSpPr/>
          <p:nvPr/>
        </p:nvSpPr>
        <p:spPr>
          <a:xfrm>
            <a:off x="596515" y="2596840"/>
            <a:ext cx="6156685" cy="230832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/>
            <a:r>
              <a:rPr lang="ru-RU" sz="1200" b="1" dirty="0" smtClean="0">
                <a:ea typeface="Cambria" panose="02040503050406030204" pitchFamily="18" charset="0"/>
                <a:cs typeface="Calibri" panose="020F0502020204030204" pitchFamily="34" charset="0"/>
              </a:rPr>
              <a:t>Механизм </a:t>
            </a:r>
            <a:r>
              <a:rPr lang="ru-RU" sz="1200" b="1" dirty="0">
                <a:ea typeface="Cambria" panose="02040503050406030204" pitchFamily="18" charset="0"/>
                <a:cs typeface="Calibri" panose="020F0502020204030204" pitchFamily="34" charset="0"/>
              </a:rPr>
              <a:t>льготного </a:t>
            </a:r>
            <a:r>
              <a:rPr lang="ru-RU" sz="1200" b="1" dirty="0" smtClean="0">
                <a:ea typeface="Cambria" panose="02040503050406030204" pitchFamily="18" charset="0"/>
                <a:cs typeface="Calibri" panose="020F0502020204030204" pitchFamily="34" charset="0"/>
              </a:rPr>
              <a:t>кредитования определяет: </a:t>
            </a:r>
            <a:r>
              <a:rPr lang="ru-RU" sz="1200" dirty="0" smtClean="0"/>
              <a:t>цели, порядок и условия предоставления из федерального бюджета </a:t>
            </a:r>
            <a:r>
              <a:rPr lang="ru-RU" sz="1200" dirty="0"/>
              <a:t>субсидий</a:t>
            </a:r>
            <a:r>
              <a:rPr lang="ru-RU" sz="1200" dirty="0" smtClean="0"/>
              <a:t> российским </a:t>
            </a:r>
            <a:r>
              <a:rPr lang="ru-RU" sz="1200" b="1" dirty="0">
                <a:ea typeface="Cambria" panose="02040503050406030204" pitchFamily="18" charset="0"/>
                <a:cs typeface="Calibri" panose="020F0502020204030204" pitchFamily="34" charset="0"/>
              </a:rPr>
              <a:t>кредитным организациям</a:t>
            </a:r>
            <a:r>
              <a:rPr lang="ru-RU" sz="1200" dirty="0" smtClean="0"/>
              <a:t>, международным финансовым организациям и государственной корпорации развития «ВЭБ.РФ» на возмещение недополученных ими доходов </a:t>
            </a:r>
            <a:r>
              <a:rPr lang="ru-RU" sz="1200" b="1" dirty="0">
                <a:ea typeface="Cambria" panose="02040503050406030204" pitchFamily="18" charset="0"/>
                <a:cs typeface="Calibri" panose="020F0502020204030204" pitchFamily="34" charset="0"/>
              </a:rPr>
              <a:t>по кредитам, выданным заключившим соглашения о повышении конкурентоспособности сельскохозяйственным товаропроизводителям </a:t>
            </a:r>
            <a:r>
              <a:rPr lang="ru-RU" sz="1200" dirty="0" smtClean="0"/>
              <a:t>(за</a:t>
            </a:r>
            <a:r>
              <a:rPr lang="en-US" sz="1200" dirty="0" smtClean="0"/>
              <a:t> </a:t>
            </a:r>
            <a:r>
              <a:rPr lang="ru-RU" sz="1200" dirty="0" smtClean="0"/>
              <a:t>исключением</a:t>
            </a:r>
            <a:r>
              <a:rPr lang="en-US" sz="1200" dirty="0"/>
              <a:t> </a:t>
            </a:r>
            <a:r>
              <a:rPr lang="ru-RU" sz="1200" dirty="0" smtClean="0"/>
              <a:t>сельскохозяйственных кредитных</a:t>
            </a:r>
            <a:r>
              <a:rPr lang="en-US" sz="1200" dirty="0" smtClean="0"/>
              <a:t> </a:t>
            </a:r>
            <a:r>
              <a:rPr lang="ru-RU" sz="1200" dirty="0" smtClean="0"/>
              <a:t>потребительских кооперативов),</a:t>
            </a:r>
            <a:r>
              <a:rPr lang="en-US" sz="1200" dirty="0" smtClean="0"/>
              <a:t> </a:t>
            </a:r>
            <a:r>
              <a:rPr lang="ru-RU" sz="1200" b="1" dirty="0">
                <a:ea typeface="Cambria" panose="02040503050406030204" pitchFamily="18" charset="0"/>
                <a:cs typeface="Calibri" panose="020F0502020204030204" pitchFamily="34" charset="0"/>
              </a:rPr>
              <a:t>организациям</a:t>
            </a:r>
            <a:r>
              <a:rPr lang="ru-RU" sz="1200" dirty="0" smtClean="0"/>
              <a:t> и</a:t>
            </a:r>
            <a:r>
              <a:rPr lang="en-US" sz="1200" dirty="0"/>
              <a:t> </a:t>
            </a:r>
            <a:r>
              <a:rPr lang="ru-RU" sz="1200" dirty="0" smtClean="0"/>
              <a:t>индивидуальным</a:t>
            </a:r>
            <a:r>
              <a:rPr lang="en-US" sz="1200" dirty="0" smtClean="0"/>
              <a:t> </a:t>
            </a:r>
            <a:r>
              <a:rPr lang="ru-RU" sz="1200" dirty="0" smtClean="0"/>
              <a:t>предпринимателям, осуществляющим производство</a:t>
            </a:r>
            <a:r>
              <a:rPr lang="ru-RU" sz="1200" dirty="0"/>
              <a:t>, </a:t>
            </a:r>
            <a:r>
              <a:rPr lang="ru-RU" sz="1200" dirty="0" smtClean="0"/>
              <a:t>первичную и (или)</a:t>
            </a:r>
            <a:r>
              <a:rPr lang="en-US" sz="1200" dirty="0" smtClean="0"/>
              <a:t> </a:t>
            </a:r>
            <a:r>
              <a:rPr lang="ru-RU" sz="1200" dirty="0" smtClean="0"/>
              <a:t>последующую </a:t>
            </a:r>
            <a:r>
              <a:rPr lang="ru-RU" sz="1200" dirty="0"/>
              <a:t>(промышленную) переработку сельскохозяйственной продукции и ее реализацию, по льготной </a:t>
            </a:r>
            <a:r>
              <a:rPr lang="ru-RU" sz="1200" dirty="0" smtClean="0"/>
              <a:t>ставке (Правила льготного кредитования)</a:t>
            </a:r>
          </a:p>
          <a:p>
            <a:pPr algn="just"/>
            <a:endParaRPr lang="en-US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08485" y="534451"/>
            <a:ext cx="5976664" cy="633943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НОВЫЙ МЕХАНИЗМ ГОСУДАРСТВЕННОЙ ПОДДЕРЖКИ ПРЕДПРИЯТИЙ</a:t>
            </a:r>
            <a:endParaRPr lang="ru-RU" sz="1400" dirty="0">
              <a:solidFill>
                <a:srgbClr val="006600"/>
              </a:solidFill>
              <a:latin typeface="Arial" charset="0"/>
              <a:ea typeface="+mn-ea"/>
              <a:cs typeface="+mn-cs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F9AAFD8C-7EF7-4956-9C24-AC5B3A3A56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582" r="21251"/>
          <a:stretch/>
        </p:blipFill>
        <p:spPr>
          <a:xfrm>
            <a:off x="6619851" y="2797531"/>
            <a:ext cx="3010704" cy="279170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Прямоугольник 8"/>
          <p:cNvSpPr/>
          <p:nvPr/>
        </p:nvSpPr>
        <p:spPr>
          <a:xfrm>
            <a:off x="596516" y="5025080"/>
            <a:ext cx="16065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/>
              <a:t>Экономический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/>
              <a:t> </a:t>
            </a:r>
            <a:r>
              <a:rPr lang="ru-RU" sz="1400" b="1" dirty="0" smtClean="0"/>
              <a:t>эффект*</a:t>
            </a:r>
            <a:endParaRPr lang="ru-RU" altLang="ko-KR" sz="1400" b="1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471736" y="5025080"/>
            <a:ext cx="234759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/>
              <a:t>Процентный доход за счет уплаты заемщиком процентов по ставке от 1 до 5 % годовых</a:t>
            </a:r>
            <a:endParaRPr lang="ru-RU" altLang="ko-KR" sz="1100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5215335" y="5017987"/>
            <a:ext cx="164635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182563" algn="l"/>
              </a:tabLst>
            </a:pPr>
            <a:r>
              <a:rPr lang="ru-RU" sz="1100" b="1" dirty="0"/>
              <a:t>Субсидия </a:t>
            </a:r>
            <a:r>
              <a:rPr lang="ru-RU" sz="1100" b="1" dirty="0" smtClean="0"/>
              <a:t>90 </a:t>
            </a:r>
            <a:r>
              <a:rPr lang="ru-RU" sz="1100" b="1" dirty="0"/>
              <a:t>% размера ключевой ставки ЦБ РФ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335" y="5013752"/>
            <a:ext cx="604399" cy="604399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5001" y="5137315"/>
            <a:ext cx="375693" cy="375693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632519" y="5949280"/>
            <a:ext cx="615668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/>
              <a:t>* Размер </a:t>
            </a:r>
            <a:r>
              <a:rPr lang="ru-RU" sz="1100" dirty="0"/>
              <a:t>субсидии на период действия аккредитива не может быть больше суммы процентов, взимаемых </a:t>
            </a:r>
            <a:r>
              <a:rPr lang="ru-RU" sz="1100" dirty="0" smtClean="0"/>
              <a:t>Банком </a:t>
            </a:r>
            <a:r>
              <a:rPr lang="ru-RU" sz="1100" dirty="0"/>
              <a:t>по </a:t>
            </a:r>
            <a:r>
              <a:rPr lang="ru-RU" sz="1100" dirty="0" smtClean="0"/>
              <a:t>льготному кредитному </a:t>
            </a:r>
            <a:r>
              <a:rPr lang="ru-RU" sz="1100" dirty="0"/>
              <a:t>договору с заемщика в период действия аккредитива</a:t>
            </a:r>
            <a:endParaRPr lang="ru-RU" altLang="ko-KR" sz="1100" b="1" dirty="0"/>
          </a:p>
        </p:txBody>
      </p:sp>
    </p:spTree>
    <p:extLst>
      <p:ext uri="{BB962C8B-B14F-4D97-AF65-F5344CB8AC3E}">
        <p14:creationId xmlns:p14="http://schemas.microsoft.com/office/powerpoint/2010/main" val="128001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484" y="534451"/>
            <a:ext cx="6012668" cy="633943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ОСНОВНЫЕ ПАРАМЕТРЫ ЛЬГОТНОГО КРЕДИТОВАНИЯ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3044902"/>
              </p:ext>
            </p:extLst>
          </p:nvPr>
        </p:nvGraphicFramePr>
        <p:xfrm>
          <a:off x="416496" y="1412776"/>
          <a:ext cx="9219627" cy="4480757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1608824">
                  <a:extLst>
                    <a:ext uri="{9D8B030D-6E8A-4147-A177-3AD203B41FA5}">
                      <a16:colId xmlns="" xmlns:a16="http://schemas.microsoft.com/office/drawing/2014/main" val="953140140"/>
                    </a:ext>
                  </a:extLst>
                </a:gridCol>
                <a:gridCol w="3570867">
                  <a:extLst>
                    <a:ext uri="{9D8B030D-6E8A-4147-A177-3AD203B41FA5}">
                      <a16:colId xmlns="" xmlns:a16="http://schemas.microsoft.com/office/drawing/2014/main" val="4204094236"/>
                    </a:ext>
                  </a:extLst>
                </a:gridCol>
                <a:gridCol w="4039936">
                  <a:extLst>
                    <a:ext uri="{9D8B030D-6E8A-4147-A177-3AD203B41FA5}">
                      <a16:colId xmlns="" xmlns:a16="http://schemas.microsoft.com/office/drawing/2014/main" val="588095684"/>
                    </a:ext>
                  </a:extLst>
                </a:gridCol>
              </a:tblGrid>
              <a:tr h="502229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раметры льготного кредита</a:t>
                      </a:r>
                      <a:endParaRPr lang="ru-RU" sz="1200" b="1" kern="1200" dirty="0">
                        <a:solidFill>
                          <a:srgbClr val="2B6030"/>
                        </a:solidFill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ткосрочное кредитование</a:t>
                      </a:r>
                      <a:endParaRPr lang="ru-RU" sz="1200" b="1" kern="1200" dirty="0">
                        <a:solidFill>
                          <a:srgbClr val="2B6030"/>
                        </a:solidFill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ое кредитование</a:t>
                      </a:r>
                      <a:endParaRPr lang="ru-RU" sz="1200" b="1" kern="1200" dirty="0">
                        <a:solidFill>
                          <a:srgbClr val="2B6030"/>
                        </a:solidFill>
                        <a:latin typeface="Arial" panose="020B0604020202020204" pitchFamily="34" charset="0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100661906"/>
                  </a:ext>
                </a:extLst>
              </a:tr>
              <a:tr h="471448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симальный срок*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1 года (включительно)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2 до 15 лет (включительно)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556051437"/>
                  </a:ext>
                </a:extLst>
              </a:tr>
              <a:tr h="692036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ь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</a:t>
                      </a:r>
                      <a:r>
                        <a:rPr lang="ru-RU" sz="1100" kern="12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отраслей</a:t>
                      </a: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algn="l"/>
                      <a:r>
                        <a:rPr lang="ru-RU" sz="1100" kern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тениеводства</a:t>
                      </a:r>
                    </a:p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животноводства</a:t>
                      </a:r>
                    </a:p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переработки продукции растениеводства и животноводства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тие </a:t>
                      </a:r>
                      <a:r>
                        <a:rPr lang="ru-RU" sz="1100" kern="12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отраслей</a:t>
                      </a: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algn="l"/>
                      <a:r>
                        <a:rPr lang="ru-RU" sz="1100" kern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</a:t>
                      </a: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тениеводства</a:t>
                      </a:r>
                    </a:p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животноводства</a:t>
                      </a:r>
                    </a:p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переработки продукции растениеводства и животноводства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922443365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% до 5%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% до 5%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432822212"/>
                  </a:ext>
                </a:extLst>
              </a:tr>
              <a:tr h="430435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лют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бли РФ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бли РФ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620434063"/>
                  </a:ext>
                </a:extLst>
              </a:tr>
              <a:tr h="598245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з ограничения по сумме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реализацию одного инвестиционного проекта, без ограничения по сумме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618997652"/>
                  </a:ext>
                </a:extLst>
              </a:tr>
              <a:tr h="364241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а кредитования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, кредитная линия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едит, кредитная линия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07020735"/>
                  </a:ext>
                </a:extLst>
              </a:tr>
              <a:tr h="502229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емщи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хозяйственный товаропроизводитель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работчик сельскохозяйственной продукции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я, реализующая сельскохозяйственную продукцию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хозяйственный товаропроизводитель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работчик сельскохозяйственной продукции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я, реализующая сельскохозяйственную продукцию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194013077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08484" y="6091424"/>
            <a:ext cx="7692888" cy="226769"/>
          </a:xfrm>
          <a:prstGeom prst="rect">
            <a:avLst/>
          </a:prstGeom>
          <a:noFill/>
        </p:spPr>
        <p:txBody>
          <a:bodyPr wrap="square" lIns="87417" tIns="43708" rIns="87417" bIns="43708" anchor="b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900" b="1" dirty="0" smtClean="0"/>
              <a:t>* Кредиты сроком от 1 до 2 лет НЕ СУБСИДИРУЮТСЯ</a:t>
            </a:r>
            <a:endParaRPr lang="ru-RU" sz="900" b="1" dirty="0"/>
          </a:p>
        </p:txBody>
      </p:sp>
    </p:spTree>
    <p:extLst>
      <p:ext uri="{BB962C8B-B14F-4D97-AF65-F5344CB8AC3E}">
        <p14:creationId xmlns:p14="http://schemas.microsoft.com/office/powerpoint/2010/main" val="2275731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08484" y="525066"/>
            <a:ext cx="5976663" cy="4556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457200"/>
            <a:r>
              <a:rPr lang="ru-RU" sz="1400" b="1" dirty="0">
                <a:solidFill>
                  <a:srgbClr val="006600"/>
                </a:solidFill>
              </a:rPr>
              <a:t>ОБЩИЕ ТРЕБОВАНИЯ К ЗАЕМЩИКАМ</a:t>
            </a:r>
            <a:endParaRPr lang="en-US" sz="1400" b="1" dirty="0">
              <a:solidFill>
                <a:srgbClr val="0066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8484" y="1124744"/>
            <a:ext cx="9296400" cy="541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 smtClean="0"/>
              <a:t>Заемщик должен удовлетворять следующим требованиям: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</a:pPr>
            <a:r>
              <a:rPr lang="ru-RU" sz="1400" dirty="0" smtClean="0"/>
              <a:t>не </a:t>
            </a:r>
            <a:r>
              <a:rPr lang="ru-RU" sz="1400" dirty="0"/>
              <a:t>находиться в процессе ликвидации, реорганизации (за исключением реорганизации заемщиков - сельскохозяйственных товаропроизводителей и организаций, осуществляющих производство и (или) первичную и (или) последующую (промышленную) переработку сельскохозяйственной продукции и ее реализацию, в форме присоединения или преобразования при условии сохранения заемщиком статуса сельскохозяйственного товаропроизводителя или статуса организации, осуществляющей производство и (или) первичную и (или) последующую (промышленную) переработку сельскохозяйственной продукции и ее реализацию)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ладать статусом налогового резидента РФ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быть зарегистрированным на территории РФ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е иметь неисполненной обязанности по уплате налогов, сборов, страховых взносов, пеней, штрафов, процентов, подлежащих уплате в соответствии с законодательством РФ о несостоятельности (банкротстве)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являться сельскохозяйственным товаропроизводителем или организацией, осуществляющей производство, первичную и (или) последующую (промышленную) переработку сельскохозяйственной продукции и ее реализацию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заключившим соглашение о повышении конкурентоспособности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(ключевое отличие от программы № 1528)</a:t>
            </a:r>
          </a:p>
          <a:p>
            <a:pPr marL="449263" lvl="1" indent="-161925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2"/>
              </a:buBlip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облюдать значения показателей заключенного между заемщиком, Минсельхозом России и Региональным органом АПК соглашения о повышения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нкурентоспособности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232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534451"/>
            <a:ext cx="6120681" cy="665843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СТРУКТУРА СОГЛАШЕНИЯ О ПОВЫШЕНИИ КОНКУРЕНТОСПОСОБНОСТИ (СПК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70123" y="3073657"/>
            <a:ext cx="9066002" cy="2754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69862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300" dirty="0"/>
              <a:t>Предметом СПК является реализация заемщиком программы повышения конкурентоспособности, направленной на увеличение объемов продукции агропромышленного комплекса, транспортировка которой осуществляется через транспортно-логистические узлы</a:t>
            </a:r>
          </a:p>
          <a:p>
            <a:pPr indent="-169862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300" dirty="0"/>
              <a:t>СПК реализуется заемщиком, в том числе с привлечением соисполнителей, входящих в группу компаний с заемщиком, определяемую заемщиком и подтверждаемую Банком </a:t>
            </a:r>
            <a:endParaRPr lang="ru-RU" sz="1300" dirty="0" smtClean="0"/>
          </a:p>
          <a:p>
            <a:pPr indent="-169862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300" dirty="0" smtClean="0"/>
              <a:t>Допускается </a:t>
            </a:r>
            <a:r>
              <a:rPr lang="ru-RU" sz="1300" dirty="0"/>
              <a:t>внесение изменений в условия заключенного СПК посредством подписания дополнительного соглашения (в том числе при изменении перечня соисполнителей, показателей программы повышения конкурентоспособности, перечня ТЛУ)</a:t>
            </a:r>
          </a:p>
          <a:p>
            <a:pPr indent="-169862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300" dirty="0"/>
              <a:t>В случае расторжения СПК с заемщиком Минсельхоз России информирует Банк и прекращает выплату субсидии. Банк устанавливает ставку на уровне коммерческой</a:t>
            </a:r>
            <a:endParaRPr lang="ru-RU" sz="1300" dirty="0">
              <a:hlinkClick r:id="rId7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43571" y="6225673"/>
            <a:ext cx="6516446" cy="226769"/>
          </a:xfrm>
          <a:prstGeom prst="rect">
            <a:avLst/>
          </a:prstGeom>
          <a:noFill/>
        </p:spPr>
        <p:txBody>
          <a:bodyPr wrap="square" lIns="87417" tIns="43708" rIns="87417" bIns="43708" anchor="b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900" b="1" dirty="0"/>
              <a:t>*Перечень </a:t>
            </a:r>
            <a:r>
              <a:rPr lang="ru-RU" sz="900" b="1" dirty="0" smtClean="0"/>
              <a:t>ТЛУ </a:t>
            </a:r>
            <a:r>
              <a:rPr lang="ru-RU" sz="900" b="1" dirty="0"/>
              <a:t>размещен на сайте </a:t>
            </a:r>
            <a:r>
              <a:rPr lang="en-US" sz="900" b="1" dirty="0" err="1"/>
              <a:t>rosgranstroy</a:t>
            </a:r>
            <a:r>
              <a:rPr lang="ru-RU" sz="900" b="1" dirty="0"/>
              <a:t>.</a:t>
            </a:r>
            <a:r>
              <a:rPr lang="en-US" sz="900" b="1" dirty="0" err="1" smtClean="0"/>
              <a:t>ru</a:t>
            </a:r>
            <a:endParaRPr lang="ru-RU" sz="9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628651" y="1394705"/>
            <a:ext cx="9007474" cy="584775"/>
          </a:xfrm>
          <a:prstGeom prst="rect">
            <a:avLst/>
          </a:prstGeom>
          <a:solidFill>
            <a:schemeClr val="accent5">
              <a:alpha val="50000"/>
            </a:schemeClr>
          </a:solidFill>
          <a:effectLst/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Соглашение </a:t>
            </a:r>
            <a:r>
              <a:rPr lang="ru-RU" sz="16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о повышении </a:t>
            </a:r>
            <a:r>
              <a:rPr lang="ru-RU" sz="1600" b="1" dirty="0" smtClean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конкурентоспособности, заключаемое между заемщиком,  Региональным органом АПК и Минсельхозом России (далее – СПК) 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72680" y="2286408"/>
            <a:ext cx="2736304" cy="655564"/>
          </a:xfrm>
          <a:prstGeom prst="rect">
            <a:avLst/>
          </a:prstGeom>
          <a:ln w="25400">
            <a:solidFill>
              <a:srgbClr val="2B6030"/>
            </a:solidFill>
          </a:ln>
          <a:effectLst/>
        </p:spPr>
        <p:txBody>
          <a:bodyPr wrap="square">
            <a:spAutoFit/>
          </a:bodyPr>
          <a:lstStyle/>
          <a:p>
            <a:pPr algn="ctr" defTabSz="488950">
              <a:lnSpc>
                <a:spcPct val="90000"/>
              </a:lnSpc>
              <a:spcAft>
                <a:spcPct val="35000"/>
              </a:spcAft>
            </a:pPr>
            <a:r>
              <a:rPr lang="ru-RU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иложение 1</a:t>
            </a:r>
          </a:p>
          <a:p>
            <a:pPr algn="ctr" defTabSz="488950">
              <a:lnSpc>
                <a:spcPct val="90000"/>
              </a:lnSpc>
              <a:spcAft>
                <a:spcPct val="35000"/>
              </a:spcAft>
            </a:pPr>
            <a:r>
              <a:rPr lang="ru-RU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еречень транспортно-логистических </a:t>
            </a:r>
            <a:r>
              <a:rPr lang="ru-RU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узлов (далее - ТЛУ)*</a:t>
            </a:r>
            <a:endParaRPr lang="ru-RU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601072" y="2286408"/>
            <a:ext cx="2700300" cy="655564"/>
          </a:xfrm>
          <a:prstGeom prst="rect">
            <a:avLst/>
          </a:prstGeom>
          <a:ln w="25400">
            <a:solidFill>
              <a:srgbClr val="2B6030"/>
            </a:solidFill>
          </a:ln>
        </p:spPr>
        <p:txBody>
          <a:bodyPr wrap="square">
            <a:spAutoFit/>
          </a:bodyPr>
          <a:lstStyle/>
          <a:p>
            <a:pPr algn="ctr" defTabSz="488950">
              <a:lnSpc>
                <a:spcPct val="90000"/>
              </a:lnSpc>
              <a:spcAft>
                <a:spcPct val="35000"/>
              </a:spcAft>
            </a:pPr>
            <a:r>
              <a:rPr lang="ru-RU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иложение 2</a:t>
            </a:r>
          </a:p>
          <a:p>
            <a:pPr algn="ctr" defTabSz="488950">
              <a:lnSpc>
                <a:spcPct val="90000"/>
              </a:lnSpc>
              <a:spcAft>
                <a:spcPct val="35000"/>
              </a:spcAft>
            </a:pPr>
            <a:r>
              <a:rPr lang="ru-RU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ограмма повышения конкурентоспособности</a:t>
            </a:r>
          </a:p>
        </p:txBody>
      </p:sp>
      <p:cxnSp>
        <p:nvCxnSpPr>
          <p:cNvPr id="9" name="Прямая со стрелкой 8"/>
          <p:cNvCxnSpPr>
            <a:stCxn id="3" idx="0"/>
          </p:cNvCxnSpPr>
          <p:nvPr/>
        </p:nvCxnSpPr>
        <p:spPr>
          <a:xfrm flipV="1">
            <a:off x="3440832" y="1979480"/>
            <a:ext cx="0" cy="306928"/>
          </a:xfrm>
          <a:prstGeom prst="straightConnector1">
            <a:avLst/>
          </a:prstGeom>
          <a:ln>
            <a:solidFill>
              <a:srgbClr val="2B603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V="1">
            <a:off x="6825208" y="1988840"/>
            <a:ext cx="0" cy="297568"/>
          </a:xfrm>
          <a:prstGeom prst="straightConnector1">
            <a:avLst/>
          </a:prstGeom>
          <a:ln>
            <a:solidFill>
              <a:srgbClr val="2B603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80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4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855" y="512676"/>
            <a:ext cx="6073301" cy="734308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ПРАВО БАНКА НА УСТАНОВЛЕНИЕ КОММЕРЧЕСКОЙ СТАВКИ ПО ЛЬГОТНОМУ КРЕДИТНОМУ ДОГОВОРУ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324724" y="6347755"/>
            <a:ext cx="2311400" cy="365125"/>
          </a:xfrm>
        </p:spPr>
        <p:txBody>
          <a:bodyPr/>
          <a:lstStyle/>
          <a:p>
            <a:fld id="{6DDF61C1-2457-E848-BB6B-E1DA9A549776}" type="slidenum">
              <a:rPr lang="en-US" sz="1000" smtClean="0">
                <a:solidFill>
                  <a:prstClr val="white"/>
                </a:solidFill>
              </a:rPr>
              <a:pPr/>
              <a:t>6</a:t>
            </a:fld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83855" y="1268760"/>
            <a:ext cx="9484535" cy="584775"/>
          </a:xfrm>
          <a:prstGeom prst="rect">
            <a:avLst/>
          </a:prstGeom>
          <a:solidFill>
            <a:schemeClr val="accent5">
              <a:alpha val="5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Коммерческая ставка устанавливается Банком при выявлении следующих фактов несоответствия заемщика требованиям  </a:t>
            </a:r>
            <a:r>
              <a:rPr lang="ru-RU" sz="1600" b="1" dirty="0" smtClean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Правил льготного </a:t>
            </a:r>
            <a:r>
              <a:rPr lang="ru-RU" sz="1600" b="1" dirty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кредитования</a:t>
            </a:r>
            <a:r>
              <a:rPr lang="en-US" sz="1600" b="1" dirty="0" smtClean="0">
                <a:solidFill>
                  <a:srgbClr val="2B603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: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3855" y="1844824"/>
            <a:ext cx="4872414" cy="5498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расторжение соглашения о повышении конкурентоспособности между Минсельхозом России и заемщиком (по информации, полученной от Минсельхоза России)</a:t>
            </a: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endParaRPr lang="ru-RU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 err="1" smtClean="0"/>
              <a:t>недостижение</a:t>
            </a:r>
            <a:r>
              <a:rPr lang="ru-RU" sz="1000" dirty="0" smtClean="0"/>
              <a:t> </a:t>
            </a:r>
            <a:r>
              <a:rPr lang="ru-RU" sz="1000" dirty="0"/>
              <a:t>значений показателей соглашения о повышении конкурентоспособности (по информации, полученной от Минсельхоза России)</a:t>
            </a:r>
            <a:endParaRPr lang="en-US" sz="1000" dirty="0"/>
          </a:p>
          <a:p>
            <a:pPr marL="173038" lvl="0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ru-RU" sz="1000" dirty="0"/>
          </a:p>
          <a:p>
            <a:pPr marL="173038" lvl="0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x-none" sz="1000" dirty="0"/>
              <a:t>принятие </a:t>
            </a:r>
            <a:r>
              <a:rPr lang="ru-RU" sz="1000" dirty="0"/>
              <a:t>з</a:t>
            </a:r>
            <a:r>
              <a:rPr lang="x-none" sz="1000" dirty="0"/>
              <a:t>аемщиком решения о </a:t>
            </a:r>
            <a:r>
              <a:rPr lang="ru-RU" sz="1000" dirty="0"/>
              <a:t>ликвидации, реорганизации (за исключением реорганизации заемщиков - сельскохозяйственных товаропроизводителей и организаций, осуществляющих производство и (или) первичную и (или) последующую (промышленную) переработку сельскохозяйственной продукции и ее реализацию, в форме присоединения или преобразования при условии сохранения заемщиком статуса сельскохозяйственного товаропроизводителя или статуса организации, осуществляющей производство и (или) первичную и (или) последующую (промышленную) переработку сельскохозяйственной продукции и ее реализацию)</a:t>
            </a:r>
          </a:p>
          <a:p>
            <a:pPr marL="173038" lvl="0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ru-RU" sz="1000" dirty="0"/>
              <a:t>утрата заемщиком статуса налогового резидента Российской</a:t>
            </a:r>
            <a:r>
              <a:rPr lang="en-US" sz="1000" dirty="0"/>
              <a:t> </a:t>
            </a:r>
            <a:r>
              <a:rPr lang="ru-RU" sz="1000" dirty="0"/>
              <a:t>Федерации</a:t>
            </a:r>
            <a:endParaRPr lang="en-US" sz="1000" dirty="0"/>
          </a:p>
          <a:p>
            <a:pPr marL="158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x-none" sz="1000" dirty="0"/>
              <a:t>утрата </a:t>
            </a:r>
            <a:r>
              <a:rPr lang="ru-RU" sz="1000" dirty="0"/>
              <a:t>з</a:t>
            </a:r>
            <a:r>
              <a:rPr lang="x-none" sz="1000" dirty="0"/>
              <a:t>аемщиком регистрации на территории Российской</a:t>
            </a:r>
            <a:r>
              <a:rPr lang="en-US" sz="1000" dirty="0"/>
              <a:t> </a:t>
            </a:r>
            <a:r>
              <a:rPr lang="x-none" sz="1000" dirty="0"/>
              <a:t>Федерации</a:t>
            </a:r>
            <a:r>
              <a:rPr lang="en-US" sz="1000" dirty="0"/>
              <a:t> </a:t>
            </a:r>
            <a:r>
              <a:rPr lang="x-none" sz="1000" dirty="0"/>
              <a:t>(в</a:t>
            </a:r>
            <a:endParaRPr lang="en-US" sz="1000" dirty="0"/>
          </a:p>
          <a:p>
            <a:pPr marL="180975" algn="just" defTabSz="357188"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x-none" sz="1000" dirty="0" smtClean="0"/>
              <a:t>соответствии </a:t>
            </a:r>
            <a:r>
              <a:rPr lang="x-none" sz="1000" dirty="0"/>
              <a:t>с Федеральным законом от 08.08.2001 № 129 – ФЗ «О государственной регистрации юридических лиц и индивидуальных предпринимателей»)</a:t>
            </a:r>
            <a:endParaRPr lang="ru-RU" sz="1000" dirty="0"/>
          </a:p>
          <a:p>
            <a:pPr marL="182563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ru-RU" sz="1000" dirty="0"/>
          </a:p>
          <a:p>
            <a:pPr marL="182563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ru-RU" sz="1000" dirty="0"/>
              <a:t>пролонгация окончательного срока пользования льготным </a:t>
            </a:r>
            <a:r>
              <a:rPr lang="ru-RU" sz="1000" dirty="0" smtClean="0"/>
              <a:t>кредитом</a:t>
            </a:r>
          </a:p>
          <a:p>
            <a:pPr marL="182563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ru-RU" sz="1000" dirty="0"/>
          </a:p>
          <a:p>
            <a:pPr marL="182563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ru-RU" sz="1000" dirty="0" smtClean="0"/>
              <a:t>нарушение </a:t>
            </a:r>
            <a:r>
              <a:rPr lang="ru-RU" sz="1000" dirty="0"/>
              <a:t>заемщиком целей использования льготного кредита/части кредита</a:t>
            </a:r>
          </a:p>
          <a:p>
            <a:pPr marL="182563" indent="-169862" algn="just" defTabSz="35718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  <a:defRPr/>
            </a:pPr>
            <a:endParaRPr lang="ru-RU" sz="1300" dirty="0" smtClean="0"/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 algn="just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 smtClean="0">
              <a:solidFill>
                <a:schemeClr val="dk1"/>
              </a:solidFill>
            </a:endParaRPr>
          </a:p>
          <a:p>
            <a:pPr lvl="0" algn="just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dk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175430" y="1844824"/>
            <a:ext cx="4592960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8926" lvl="0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x-none" sz="1000" dirty="0"/>
              <a:t>возбуждение в отношении </a:t>
            </a:r>
            <a:r>
              <a:rPr lang="ru-RU" sz="1000" dirty="0"/>
              <a:t>з</a:t>
            </a:r>
            <a:r>
              <a:rPr lang="x-none" sz="1000" dirty="0"/>
              <a:t>аемщика производства по делу о</a:t>
            </a:r>
            <a:r>
              <a:rPr lang="en-US" sz="1000" dirty="0"/>
              <a:t> </a:t>
            </a:r>
            <a:r>
              <a:rPr lang="x-none" sz="1000" dirty="0"/>
              <a:t>несостоятельности</a:t>
            </a:r>
            <a:r>
              <a:rPr lang="en-US" sz="1000" dirty="0"/>
              <a:t> </a:t>
            </a:r>
            <a:r>
              <a:rPr lang="x-none" sz="1000" dirty="0"/>
              <a:t>(банкротстве) в соответствии с законодательством Российской Федерации о несостоятельности (банкротстве)</a:t>
            </a:r>
            <a:endParaRPr lang="en-US" sz="1000" dirty="0"/>
          </a:p>
          <a:p>
            <a:pPr marL="288926" lvl="0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en-US" sz="1000" dirty="0"/>
          </a:p>
          <a:p>
            <a:pPr marL="288926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ru-RU" sz="1000" dirty="0"/>
              <a:t>не подтверждение статуса сельскохозяйственного</a:t>
            </a:r>
            <a:r>
              <a:rPr lang="en-US" sz="1000" dirty="0"/>
              <a:t> </a:t>
            </a:r>
            <a:r>
              <a:rPr lang="ru-RU" sz="1000" dirty="0"/>
              <a:t>товаропроизводителя или</a:t>
            </a:r>
            <a:r>
              <a:rPr lang="en-US" sz="1000" dirty="0"/>
              <a:t> </a:t>
            </a:r>
            <a:r>
              <a:rPr lang="ru-RU" sz="1000" dirty="0"/>
              <a:t>организации, осуществляющей производство, первичную и (или) последующую (промышленную) переработку сельскохозяйственной продукции и ее реализацию (за исключением ОРЦ и торговых организаций, осуществляющих реализацию сельскохозяйственной продукции)</a:t>
            </a:r>
          </a:p>
          <a:p>
            <a:pPr marL="288926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ru-RU" sz="1000" dirty="0"/>
          </a:p>
          <a:p>
            <a:pPr marL="288926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возникновение неисполненной обязанности заемщика по уплате налогов,</a:t>
            </a:r>
            <a:r>
              <a:rPr lang="en-US" sz="1000" dirty="0"/>
              <a:t> </a:t>
            </a:r>
            <a:r>
              <a:rPr lang="ru-RU" sz="1000" dirty="0"/>
              <a:t>сборов и иным</a:t>
            </a:r>
            <a:r>
              <a:rPr lang="en-US" sz="1000" dirty="0"/>
              <a:t> </a:t>
            </a:r>
            <a:r>
              <a:rPr lang="ru-RU" sz="1000" dirty="0"/>
              <a:t>обязательных платежей в бюджеты бюджетной системы Российской Федерации и в государственные внебюджетные фонды</a:t>
            </a:r>
            <a:endParaRPr lang="en-US" sz="1000" dirty="0"/>
          </a:p>
          <a:p>
            <a:pPr marL="288926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endParaRPr lang="en-US" sz="1000" dirty="0"/>
          </a:p>
          <a:p>
            <a:pPr marL="288926" lvl="0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r>
              <a:rPr lang="x-none" sz="1000" dirty="0"/>
              <a:t>невыполнение </a:t>
            </a:r>
            <a:r>
              <a:rPr lang="ru-RU" sz="1000" dirty="0"/>
              <a:t>з</a:t>
            </a:r>
            <a:r>
              <a:rPr lang="x-none" sz="1000" dirty="0"/>
              <a:t>аемщиком обязательств по погашению основного долга</a:t>
            </a:r>
            <a:r>
              <a:rPr lang="en-US" sz="1000" dirty="0"/>
              <a:t> </a:t>
            </a:r>
            <a:r>
              <a:rPr lang="x-none" sz="1000" dirty="0"/>
              <a:t>и</a:t>
            </a:r>
            <a:r>
              <a:rPr lang="en-US" sz="1000" dirty="0"/>
              <a:t> </a:t>
            </a:r>
            <a:r>
              <a:rPr lang="x-none" sz="1000" dirty="0"/>
              <a:t>уплате начисленных</a:t>
            </a:r>
            <a:r>
              <a:rPr lang="en-US" sz="1000" dirty="0"/>
              <a:t> </a:t>
            </a:r>
            <a:r>
              <a:rPr lang="x-none" sz="1000" dirty="0"/>
              <a:t>процентов в соответствии с графиком платежей по</a:t>
            </a:r>
            <a:r>
              <a:rPr lang="en-US" sz="1000" dirty="0"/>
              <a:t> </a:t>
            </a:r>
            <a:r>
              <a:rPr lang="x-none" sz="1000" dirty="0"/>
              <a:t>кредитному договору (за исключением случаев возникновения в течение</a:t>
            </a:r>
            <a:r>
              <a:rPr lang="en-US" sz="1000" dirty="0"/>
              <a:t> </a:t>
            </a:r>
            <a:r>
              <a:rPr lang="x-none" sz="1000" dirty="0"/>
              <a:t>последних 180 календарных дней просроченных платежей по основному долгу и (или) процентам продолжительностью (общей продолжительностью) до 90 календарных дней включительно) до момента исполнения </a:t>
            </a:r>
            <a:r>
              <a:rPr lang="ru-RU" sz="1000" dirty="0"/>
              <a:t>З</a:t>
            </a:r>
            <a:r>
              <a:rPr lang="x-none" sz="1000" dirty="0"/>
              <a:t>аемщиком своих просроченных обязательств по погашению основного долга, уплате начисленных процентов по кредитному договору</a:t>
            </a:r>
            <a:endParaRPr lang="en-US" sz="1000" dirty="0"/>
          </a:p>
          <a:p>
            <a:pPr marL="288926" lvl="0" indent="-169862" algn="just" defTabSz="357188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en-US" sz="1000" dirty="0"/>
          </a:p>
          <a:p>
            <a:pPr marL="158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  <a:defRPr/>
            </a:pP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58298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5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430" y="530593"/>
            <a:ext cx="5979714" cy="547114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ВЗАИМОДЕЙСТВИЕ МЕЖДУ УЧАСТНИКАМИ </a:t>
            </a: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МЕХАНИЗМА ЛЬГОТНОГО КРЕДИТОВАНИЯ ПРИ </a:t>
            </a: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ЗАКЛЮЧЕНИИ СПК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" name="Шеврон 23"/>
          <p:cNvSpPr/>
          <p:nvPr/>
        </p:nvSpPr>
        <p:spPr>
          <a:xfrm>
            <a:off x="2678765" y="1196752"/>
            <a:ext cx="4254455" cy="1640918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719160" y="1124744"/>
            <a:ext cx="7216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28921" y="1268760"/>
            <a:ext cx="350825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оверка заемщика на соответствие требованиям Банка и Правил льготного кредитования</a:t>
            </a: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инятие решения </a:t>
            </a:r>
            <a:r>
              <a:rPr lang="ru-RU" sz="1000" dirty="0" smtClean="0"/>
              <a:t>на УОБ</a:t>
            </a: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направление заемщику документов</a:t>
            </a:r>
            <a:r>
              <a:rPr lang="en-US" sz="1000" dirty="0"/>
              <a:t>:</a:t>
            </a:r>
            <a:endParaRPr lang="ru-RU" sz="1000" dirty="0"/>
          </a:p>
          <a:p>
            <a:pPr marL="266700" lvl="1" indent="-180975" algn="just" defTabSz="357188">
              <a:spcBef>
                <a:spcPts val="0"/>
              </a:spcBef>
              <a:spcAft>
                <a:spcPts val="0"/>
              </a:spcAft>
              <a:buClr>
                <a:srgbClr val="5BA138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000" dirty="0"/>
              <a:t>выписка из решения УОБ</a:t>
            </a:r>
            <a:endParaRPr lang="en-US" sz="1000" dirty="0"/>
          </a:p>
          <a:p>
            <a:pPr marL="266700" lvl="1" indent="-180975" algn="just" defTabSz="357188">
              <a:spcBef>
                <a:spcPts val="0"/>
              </a:spcBef>
              <a:spcAft>
                <a:spcPts val="0"/>
              </a:spcAft>
              <a:buClr>
                <a:srgbClr val="5BA138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000" dirty="0"/>
              <a:t>письмо о соисполнителях, </a:t>
            </a:r>
            <a:r>
              <a:rPr lang="ru-RU" sz="1000" dirty="0" smtClean="0"/>
              <a:t>входящих в </a:t>
            </a:r>
            <a:r>
              <a:rPr lang="ru-RU" sz="1000" dirty="0"/>
              <a:t>группу с заемщиком</a:t>
            </a:r>
            <a:endParaRPr lang="en-US" sz="1000" dirty="0"/>
          </a:p>
          <a:p>
            <a:pPr marL="266700" lvl="1" indent="-180975" algn="just" defTabSz="357188">
              <a:spcBef>
                <a:spcPts val="0"/>
              </a:spcBef>
              <a:spcAft>
                <a:spcPts val="0"/>
              </a:spcAft>
              <a:buClr>
                <a:srgbClr val="5BA138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000" dirty="0"/>
              <a:t>письмо об объеме продукции, </a:t>
            </a:r>
            <a:r>
              <a:rPr lang="ru-RU" sz="1000" dirty="0" smtClean="0"/>
              <a:t>транспортировка которой осуществлена заемщиком </a:t>
            </a:r>
            <a:r>
              <a:rPr lang="ru-RU" sz="1000" dirty="0"/>
              <a:t>через </a:t>
            </a:r>
            <a:r>
              <a:rPr lang="ru-RU" sz="1000" dirty="0" smtClean="0"/>
              <a:t>ТЛУ </a:t>
            </a:r>
            <a:r>
              <a:rPr lang="ru-RU" sz="1000" dirty="0"/>
              <a:t>за предыдущий год</a:t>
            </a:r>
          </a:p>
        </p:txBody>
      </p:sp>
      <p:sp>
        <p:nvSpPr>
          <p:cNvPr id="35" name="Шеврон 34"/>
          <p:cNvSpPr/>
          <p:nvPr/>
        </p:nvSpPr>
        <p:spPr>
          <a:xfrm>
            <a:off x="211160" y="1196752"/>
            <a:ext cx="2797624" cy="1640919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69430" y="1160748"/>
            <a:ext cx="10354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</a:rPr>
              <a:t>1. </a:t>
            </a:r>
            <a:r>
              <a:rPr lang="ru-RU" altLang="ko-KR" sz="1200" b="1" dirty="0" smtClean="0">
                <a:solidFill>
                  <a:srgbClr val="255327"/>
                </a:solidFill>
              </a:rPr>
              <a:t>Заемщик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32520" y="1376772"/>
            <a:ext cx="22111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обращение в Банк</a:t>
            </a:r>
            <a:r>
              <a:rPr lang="en-US" sz="1000" dirty="0"/>
              <a:t> </a:t>
            </a:r>
            <a:r>
              <a:rPr lang="ru-RU" sz="1000" dirty="0"/>
              <a:t>с заявкой на получение льготного кредита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415743" y="4833156"/>
            <a:ext cx="92518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Банк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Шеврон 28"/>
          <p:cNvSpPr/>
          <p:nvPr/>
        </p:nvSpPr>
        <p:spPr>
          <a:xfrm>
            <a:off x="6604617" y="1231288"/>
            <a:ext cx="2704867" cy="161594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883174" y="1376772"/>
            <a:ext cx="217428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 smtClean="0"/>
              <a:t>направление пакета документов  в Региональный орган АПК для отбора проекта и принятия решения о заключении СПК (включая документы, предоставленные Банком)</a:t>
            </a:r>
          </a:p>
          <a:p>
            <a:r>
              <a:rPr lang="ru-RU" sz="1000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endParaRPr lang="ru-RU" sz="1000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653892" y="1160748"/>
            <a:ext cx="10354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Заемщик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Шеврон 41"/>
          <p:cNvSpPr/>
          <p:nvPr/>
        </p:nvSpPr>
        <p:spPr>
          <a:xfrm>
            <a:off x="6573180" y="2958110"/>
            <a:ext cx="2786399" cy="1650483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Шеврон 53"/>
          <p:cNvSpPr/>
          <p:nvPr/>
        </p:nvSpPr>
        <p:spPr>
          <a:xfrm>
            <a:off x="204119" y="4702384"/>
            <a:ext cx="2786399" cy="1650483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Шеврон 54"/>
          <p:cNvSpPr/>
          <p:nvPr/>
        </p:nvSpPr>
        <p:spPr>
          <a:xfrm>
            <a:off x="222385" y="2963600"/>
            <a:ext cx="2786399" cy="1650483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Шеврон 55"/>
          <p:cNvSpPr/>
          <p:nvPr/>
        </p:nvSpPr>
        <p:spPr>
          <a:xfrm>
            <a:off x="2657630" y="2960406"/>
            <a:ext cx="4223737" cy="1640918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Шеврон 56"/>
          <p:cNvSpPr/>
          <p:nvPr/>
        </p:nvSpPr>
        <p:spPr>
          <a:xfrm>
            <a:off x="2626912" y="4704113"/>
            <a:ext cx="4254455" cy="1640918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0096" y="3284984"/>
            <a:ext cx="226666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одготовка и направление пакета документов в Минсельхоз России для принятия решения о заключении СПК комиссией Минсельхоза Росси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62769" y="2924944"/>
            <a:ext cx="231396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й орган АПК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792760" y="2924944"/>
            <a:ext cx="18784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Минсельхоз России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136339" y="3287306"/>
            <a:ext cx="324273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оверка документов заемщика</a:t>
            </a: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оведение заседания комиссии и принятие решения об отборе для заключения СПК</a:t>
            </a:r>
            <a:endParaRPr lang="en-US" sz="1000" dirty="0"/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информирование Регионального органа АПК о принятом решении комиссии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770459" y="2926685"/>
            <a:ext cx="23950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Заемщик, Региональный орган АПК, Минсельхоз России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969225" y="3501008"/>
            <a:ext cx="198022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одписание СПК при положительном решении комиссии Минсельхоза России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08484" y="4689140"/>
            <a:ext cx="10354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 Заемщик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510217" y="5193196"/>
            <a:ext cx="267858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едоставление в Банк копии СПК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3188804" y="5193196"/>
            <a:ext cx="324036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включение заявки заемщика в Реестр потенциальных заемщиков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2720752" y="4664169"/>
            <a:ext cx="7216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 smtClean="0">
                <a:solidFill>
                  <a:srgbClr val="2553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 Банк</a:t>
            </a:r>
            <a:endParaRPr lang="ru-RU" altLang="ko-KR" sz="1200" b="1" dirty="0">
              <a:solidFill>
                <a:srgbClr val="2553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168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803" y="512676"/>
            <a:ext cx="6079859" cy="648072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ПРОЦЕДУРА СОГЛАСОВАНИЯ РЕЕСТРА ПОТЕНЦИАЛЬНЫХ ЗАЕМЩИКОВ И </a:t>
            </a: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ПРЕДОСТАВЛЕНИЕ </a:t>
            </a:r>
            <a:r>
              <a:rPr lang="ru-RU" sz="1400" dirty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ЛЬГОТНОГО КРЕДИТА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Шеврон 13"/>
          <p:cNvSpPr/>
          <p:nvPr/>
        </p:nvSpPr>
        <p:spPr>
          <a:xfrm>
            <a:off x="271803" y="2294743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15" name="Шеврон 14"/>
          <p:cNvSpPr/>
          <p:nvPr/>
        </p:nvSpPr>
        <p:spPr>
          <a:xfrm>
            <a:off x="3332820" y="2294743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16" name="Шеврон 15"/>
          <p:cNvSpPr/>
          <p:nvPr/>
        </p:nvSpPr>
        <p:spPr>
          <a:xfrm>
            <a:off x="6351662" y="2294743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20281" y="2708920"/>
            <a:ext cx="227401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/>
              <a:t>направление на согласование в Минсельхоз России</a:t>
            </a:r>
          </a:p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/>
              <a:t>формирование Реестра потенциальных заемщиков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3944888" y="2691497"/>
            <a:ext cx="231042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/>
              <a:t>рассмотрение Реестра потенциальных заемщиков </a:t>
            </a:r>
          </a:p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/>
              <a:t>направление в Банк ответа о включении/не включении потенциального заемщика в Реестр заемщиков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861212" y="2652008"/>
            <a:ext cx="2448272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уведомление заемщика о решении, принятом Минсельхозом России</a:t>
            </a:r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заключение льготного кредитного договора в течение</a:t>
            </a:r>
            <a:r>
              <a:rPr lang="en-US" sz="1000" dirty="0"/>
              <a:t>:</a:t>
            </a:r>
            <a:endParaRPr lang="ru-RU" sz="1000" dirty="0"/>
          </a:p>
          <a:p>
            <a:pPr marL="266700" lvl="1" indent="95250" algn="just" defTabSz="357188">
              <a:spcBef>
                <a:spcPts val="0"/>
              </a:spcBef>
              <a:spcAft>
                <a:spcPts val="0"/>
              </a:spcAft>
              <a:buClr>
                <a:srgbClr val="5BA138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000" dirty="0" smtClean="0"/>
              <a:t>30</a:t>
            </a:r>
            <a:r>
              <a:rPr lang="en-US" sz="1000" dirty="0" smtClean="0"/>
              <a:t> </a:t>
            </a:r>
            <a:r>
              <a:rPr lang="ru-RU" sz="1000" dirty="0"/>
              <a:t>дней по льготному краткосрочному  кредиту</a:t>
            </a:r>
            <a:endParaRPr lang="en-US" sz="1000" dirty="0"/>
          </a:p>
          <a:p>
            <a:pPr marL="266700" lvl="1" indent="95250" algn="just" defTabSz="357188">
              <a:spcBef>
                <a:spcPts val="0"/>
              </a:spcBef>
              <a:spcAft>
                <a:spcPts val="0"/>
              </a:spcAft>
              <a:buClr>
                <a:srgbClr val="5BA138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000" dirty="0"/>
              <a:t> </a:t>
            </a:r>
            <a:r>
              <a:rPr lang="ru-RU" sz="1000" dirty="0" smtClean="0"/>
              <a:t>60 </a:t>
            </a:r>
            <a:r>
              <a:rPr lang="ru-RU" sz="1000" dirty="0"/>
              <a:t>дней по льготному инвестиционному кредиту</a:t>
            </a:r>
          </a:p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предоставление заемных средств</a:t>
            </a:r>
            <a:r>
              <a:rPr lang="en-US" sz="1000" dirty="0"/>
              <a:t> </a:t>
            </a:r>
            <a:r>
              <a:rPr lang="ru-RU" sz="1000" dirty="0"/>
              <a:t>заемщику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6523966" y="2315939"/>
            <a:ext cx="7216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</a:rPr>
              <a:t>3</a:t>
            </a:r>
            <a:r>
              <a:rPr lang="ru-RU" altLang="ko-KR" sz="1200" b="1" dirty="0" smtClean="0">
                <a:solidFill>
                  <a:srgbClr val="255327"/>
                </a:solidFill>
              </a:rPr>
              <a:t>. Банк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440832" y="2305776"/>
            <a:ext cx="18784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</a:rPr>
              <a:t>2</a:t>
            </a:r>
            <a:r>
              <a:rPr lang="ru-RU" altLang="ko-KR" sz="1200" b="1" dirty="0" smtClean="0">
                <a:solidFill>
                  <a:srgbClr val="255327"/>
                </a:solidFill>
              </a:rPr>
              <a:t>. </a:t>
            </a:r>
            <a:r>
              <a:rPr lang="ru-RU" altLang="ko-KR" sz="1200" b="1" dirty="0">
                <a:solidFill>
                  <a:srgbClr val="255327"/>
                </a:solidFill>
              </a:rPr>
              <a:t>Минсельхоз России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16496" y="2294743"/>
            <a:ext cx="12705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</a:rPr>
              <a:t>1</a:t>
            </a:r>
            <a:r>
              <a:rPr lang="ru-RU" altLang="ko-KR" sz="1200" b="1" dirty="0" smtClean="0">
                <a:solidFill>
                  <a:srgbClr val="255327"/>
                </a:solidFill>
              </a:rPr>
              <a:t>. Банк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575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6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042" y="496715"/>
            <a:ext cx="5375034" cy="604327"/>
          </a:xfrm>
        </p:spPr>
        <p:txBody>
          <a:bodyPr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ru-RU" sz="1400" dirty="0" smtClean="0">
                <a:solidFill>
                  <a:srgbClr val="006600"/>
                </a:solidFill>
                <a:latin typeface="Arial" charset="0"/>
                <a:ea typeface="+mn-ea"/>
                <a:cs typeface="+mn-cs"/>
              </a:rPr>
              <a:t>ОТЧЕТНОСТЬ О ДОСТИЖЕНИИ ПОКАЗАТЕЛЕЙ СПК</a:t>
            </a:r>
            <a:endParaRPr lang="ru-RU" sz="1400" dirty="0">
              <a:solidFill>
                <a:srgbClr val="0066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="" xmlns:a16="http://schemas.microsoft.com/office/drawing/2014/main" id="{6C4529CC-F154-4851-B3DB-A851C4EC09A9}"/>
              </a:ext>
            </a:extLst>
          </p:cNvPr>
          <p:cNvCxnSpPr>
            <a:cxnSpLocks/>
          </p:cNvCxnSpPr>
          <p:nvPr/>
        </p:nvCxnSpPr>
        <p:spPr>
          <a:xfrm>
            <a:off x="582326" y="4725144"/>
            <a:ext cx="8571296" cy="0"/>
          </a:xfrm>
          <a:prstGeom prst="line">
            <a:avLst/>
          </a:prstGeom>
          <a:ln w="19050">
            <a:solidFill>
              <a:srgbClr val="E5EA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355213" y="4808185"/>
            <a:ext cx="932535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 smtClean="0">
                <a:solidFill>
                  <a:srgbClr val="255327"/>
                </a:solidFill>
              </a:rPr>
              <a:t>Минсельхоз России ежемесячно перечисляет Банку субсидию по всем действующим льготным кредитным договорам 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  <p:sp>
        <p:nvSpPr>
          <p:cNvPr id="16" name="Шеврон 15"/>
          <p:cNvSpPr/>
          <p:nvPr/>
        </p:nvSpPr>
        <p:spPr>
          <a:xfrm>
            <a:off x="263855" y="2046026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17" name="Шеврон 16"/>
          <p:cNvSpPr/>
          <p:nvPr/>
        </p:nvSpPr>
        <p:spPr>
          <a:xfrm>
            <a:off x="3340957" y="2049418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18" name="Шеврон 17"/>
          <p:cNvSpPr/>
          <p:nvPr/>
        </p:nvSpPr>
        <p:spPr>
          <a:xfrm>
            <a:off x="6366931" y="2062564"/>
            <a:ext cx="3353866" cy="2214377"/>
          </a:xfrm>
          <a:prstGeom prst="chevron">
            <a:avLst>
              <a:gd name="adj" fmla="val 29472"/>
            </a:avLst>
          </a:prstGeom>
          <a:solidFill>
            <a:srgbClr val="F3F8E4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812540" y="2492896"/>
            <a:ext cx="24412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 smtClean="0"/>
              <a:t>предоставление в Банк документов, подтверждающих выполнение показателей СПК (на ежеквартальной основе)</a:t>
            </a:r>
            <a:endParaRPr lang="ru-RU" sz="1000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3862293" y="2456892"/>
            <a:ext cx="2417505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 smtClean="0"/>
              <a:t>контроль соответствия заемщика требованиям постановления Правительства РФ от 26.04.2019 № 512</a:t>
            </a:r>
          </a:p>
          <a:p>
            <a:pPr marL="173038" indent="-169862" algn="just" defTabSz="357188">
              <a:spcBef>
                <a:spcPts val="600"/>
              </a:spcBef>
              <a:spcAft>
                <a:spcPts val="600"/>
              </a:spcAft>
              <a:buSzPct val="100000"/>
              <a:buBlip>
                <a:blip r:embed="rId6"/>
              </a:buBlip>
            </a:pPr>
            <a:r>
              <a:rPr lang="ru-RU" sz="1000" dirty="0" smtClean="0"/>
              <a:t>направление в Минсельхоз России документов заемщика,  подтверждающих выполнение показателей СПК в составе отчетности для получения субсидии</a:t>
            </a:r>
          </a:p>
          <a:p>
            <a:pPr marL="171450" indent="-171450" algn="just">
              <a:buFont typeface="Wingdings" panose="05000000000000000000" pitchFamily="2" charset="2"/>
              <a:buChar char="Ø"/>
            </a:pPr>
            <a:endParaRPr lang="ru-RU" sz="900" dirty="0">
              <a:solidFill>
                <a:srgbClr val="255327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897216" y="2456892"/>
            <a:ext cx="244827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 indent="-169862" algn="just" defTabSz="357188">
              <a:spcBef>
                <a:spcPts val="0"/>
              </a:spcBef>
              <a:spcAft>
                <a:spcPts val="0"/>
              </a:spcAft>
              <a:buSzPct val="100000"/>
              <a:buBlip>
                <a:blip r:embed="rId6"/>
              </a:buBlip>
            </a:pPr>
            <a:r>
              <a:rPr lang="ru-RU" sz="1000" dirty="0"/>
              <a:t>контроль выполнения заемщиком показателей СПК на основании отчетности (документов), предоставленной Банком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000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344488" y="2069120"/>
            <a:ext cx="10354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ru-RU" altLang="ko-KR" sz="1200" b="1" dirty="0">
                <a:solidFill>
                  <a:srgbClr val="255327"/>
                </a:solidFill>
              </a:rPr>
              <a:t>1. Заемщик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3422599" y="2069120"/>
            <a:ext cx="7216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>
                <a:solidFill>
                  <a:srgbClr val="255327"/>
                </a:solidFill>
              </a:rPr>
              <a:t>2</a:t>
            </a:r>
            <a:r>
              <a:rPr lang="ru-RU" altLang="ko-KR" sz="1200" b="1" dirty="0" smtClean="0">
                <a:solidFill>
                  <a:srgbClr val="255327"/>
                </a:solidFill>
              </a:rPr>
              <a:t>. Банк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465168" y="2071881"/>
            <a:ext cx="18784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200" b="1" dirty="0" smtClean="0">
                <a:solidFill>
                  <a:srgbClr val="255327"/>
                </a:solidFill>
              </a:rPr>
              <a:t>3. Минсельхоз России</a:t>
            </a:r>
            <a:endParaRPr lang="ru-RU" altLang="ko-KR" sz="1200" b="1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386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EXTBOX" val="Раздел &quot;Арх&quot;. - обновить (количество слайдов сохраняется)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/27/2010 6:30:5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10/27/2010 6:46:2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25/03/11 08:11:4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25/03/11 08:11:4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Roadmap"/>
  <p:tag name="DATE" val="25.05.2011 7:59:3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9_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0_RUS Presi Template">
  <a:themeElements>
    <a:clrScheme name="RSHB IT Strategy Palette">
      <a:dk1>
        <a:sysClr val="windowText" lastClr="000000"/>
      </a:dk1>
      <a:lt1>
        <a:sysClr val="window" lastClr="FFFFFF"/>
      </a:lt1>
      <a:dk2>
        <a:srgbClr val="5B8D64"/>
      </a:dk2>
      <a:lt2>
        <a:srgbClr val="BFBFBF"/>
      </a:lt2>
      <a:accent1>
        <a:srgbClr val="FFCB05"/>
      </a:accent1>
      <a:accent2>
        <a:srgbClr val="2B6030"/>
      </a:accent2>
      <a:accent3>
        <a:srgbClr val="238441"/>
      </a:accent3>
      <a:accent4>
        <a:srgbClr val="6AA744"/>
      </a:accent4>
      <a:accent5>
        <a:srgbClr val="A6CE39"/>
      </a:accent5>
      <a:accent6>
        <a:srgbClr val="D09C2B"/>
      </a:accent6>
      <a:hlink>
        <a:srgbClr val="238441"/>
      </a:hlink>
      <a:folHlink>
        <a:srgbClr val="D8D8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349B3AC0BD38B441BE7113CB344F50B3" ma:contentTypeVersion="0" ma:contentTypeDescription="Создание документа." ma:contentTypeScope="" ma:versionID="437bb6160f92406b6fe019fa229023c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880A409-0988-4245-9C1E-7485C5E40B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4B3996E-C9F6-4ED8-8ACE-5FCB64E8F14A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www.w3.org/XML/1998/namespace"/>
    <ds:schemaRef ds:uri="http://purl.org/dc/elements/1.1/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6448785-14A0-4236-B398-8AC13AC2386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9388</TotalTime>
  <Words>2149</Words>
  <Application>Microsoft Office PowerPoint</Application>
  <PresentationFormat>Лист A4 (210x297 мм)</PresentationFormat>
  <Paragraphs>258</Paragraphs>
  <Slides>1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9" baseType="lpstr">
      <vt:lpstr>RUS Presi Template</vt:lpstr>
      <vt:lpstr>9_RUS Presi Template</vt:lpstr>
      <vt:lpstr>10_RUS Presi Template</vt:lpstr>
      <vt:lpstr>think-cell Slide</vt:lpstr>
      <vt:lpstr>Новый механизм государственной поддержки предприятий АПК, утвержденный постановлением Правительства Российской Федерации от 26.04.2019 №512 </vt:lpstr>
      <vt:lpstr>НОВЫЙ МЕХАНИЗМ ГОСУДАРСТВЕННОЙ ПОДДЕРЖКИ ПРЕДПРИЯТИЙ</vt:lpstr>
      <vt:lpstr>ОСНОВНЫЕ ПАРАМЕТРЫ ЛЬГОТНОГО КРЕДИТОВАНИЯ</vt:lpstr>
      <vt:lpstr>Презентация PowerPoint</vt:lpstr>
      <vt:lpstr>СТРУКТУРА СОГЛАШЕНИЯ О ПОВЫШЕНИИ КОНКУРЕНТОСПОСОБНОСТИ (СПК)</vt:lpstr>
      <vt:lpstr>ПРАВО БАНКА НА УСТАНОВЛЕНИЕ КОММЕРЧЕСКОЙ СТАВКИ ПО ЛЬГОТНОМУ КРЕДИТНОМУ ДОГОВОРУ</vt:lpstr>
      <vt:lpstr>ВЗАИМОДЕЙСТВИЕ МЕЖДУ УЧАСТНИКАМИ МЕХАНИЗМА ЛЬГОТНОГО КРЕДИТОВАНИЯ ПРИ ЗАКЛЮЧЕНИИ СПК</vt:lpstr>
      <vt:lpstr>ПРОЦЕДУРА СОГЛАСОВАНИЯ РЕЕСТРА ПОТЕНЦИАЛЬНЫХ ЗАЕМЩИКОВ И ПРЕДОСТАВЛЕНИЕ ЛЬГОТНОГО КРЕДИТА</vt:lpstr>
      <vt:lpstr>ОТЧЕТНОСТЬ О ДОСТИЖЕНИИ ПОКАЗАТЕЛЕЙ СПК</vt:lpstr>
      <vt:lpstr>ПРИЛОЖЕНИЯ </vt:lpstr>
      <vt:lpstr>ВСПОМОГАТЕЛЬНЫЕ НОРМАТИВНЫЕ ПРАВОВЫЕ АКТЫ МИНСЕЛЬХОЗА РОССИИ, ОБЕСПЕЧИВАЮЩИЕ РЕАЛИЗАЦИЮ  МЕХАНИЗМА ЛЬГОТНОГО КРЕДИТОВАНИЯ</vt:lpstr>
      <vt:lpstr>НАПРАВЛЕНИЕ ДЕЯТЕЛЬНОСТИ ЗАЕМЩИКА ПРИ ПОЛУЧЕНИИ ЛЬГОТНОГО ФИНАНСИРОВАНИЯ</vt:lpstr>
      <vt:lpstr>ОСНОВНЫЕ КРИТЕРИИ ОТБОРА МИНСЕЛЬХОЗОМ РОССИИ ДЛЯ ЗАКЛЮЧЕНИЯ СПК</vt:lpstr>
      <vt:lpstr>СРАВНЕНИЕ МЕХАНИЗМОВ ЛЬГОТНОГО КРЕДТИТОВАНИЯ 512 С 1528</vt:lpstr>
      <vt:lpstr>АКЦИЯ ДЛЯ ЭКСПОРТЕРОВ АГРОПРОМЫШЛЕННОГО КОМПЛЕКСА «АГРОЭКСПОРТ»</vt:lpstr>
    </vt:vector>
  </TitlesOfParts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meeting Week 7 20110725</dc:title>
  <dc:creator>ilya.sirota@accenture.com</dc:creator>
  <cp:lastModifiedBy>Грищенко Инна Владимировна</cp:lastModifiedBy>
  <cp:revision>6088</cp:revision>
  <cp:lastPrinted>2019-08-28T19:43:57Z</cp:lastPrinted>
  <dcterms:created xsi:type="dcterms:W3CDTF">2010-08-24T16:42:52Z</dcterms:created>
  <dcterms:modified xsi:type="dcterms:W3CDTF">2019-11-15T13:4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9B3AC0BD38B441BE7113CB344F50B3</vt:lpwstr>
  </property>
  <property fmtid="{D5CDD505-2E9C-101B-9397-08002B2CF9AE}" pid="3" name="_NewReviewCycle">
    <vt:lpwstr/>
  </property>
</Properties>
</file>